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6.xml" ContentType="application/vnd.openxmlformats-officedocument.presentationml.tags+xml"/>
  <Override PartName="/ppt/notesSlides/notesSlide19.xml" ContentType="application/vnd.openxmlformats-officedocument.presentationml.notesSlide+xml"/>
  <Override PartName="/ppt/tags/tag17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8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9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20.xml" ContentType="application/vnd.openxmlformats-officedocument.presentationml.tag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tags/tag21.xml" ContentType="application/vnd.openxmlformats-officedocument.presentationml.tags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tags/tag22.xml" ContentType="application/vnd.openxmlformats-officedocument.presentationml.tags+xml"/>
  <Override PartName="/ppt/notesSlides/notesSlide45.xml" ContentType="application/vnd.openxmlformats-officedocument.presentationml.notesSlide+xml"/>
  <Override PartName="/ppt/tags/tag23.xml" ContentType="application/vnd.openxmlformats-officedocument.presentationml.tags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tags/tag24.xml" ContentType="application/vnd.openxmlformats-officedocument.presentationml.tags+xml"/>
  <Override PartName="/ppt/notesSlides/notesSlide49.xml" ContentType="application/vnd.openxmlformats-officedocument.presentationml.notesSlide+xml"/>
  <Override PartName="/ppt/tags/tag25.xml" ContentType="application/vnd.openxmlformats-officedocument.presentationml.tags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60" r:id="rId2"/>
    <p:sldMasterId id="2147483672" r:id="rId3"/>
    <p:sldMasterId id="2147483674" r:id="rId4"/>
    <p:sldMasterId id="2147483676" r:id="rId5"/>
    <p:sldMasterId id="2147483678" r:id="rId6"/>
  </p:sldMasterIdLst>
  <p:notesMasterIdLst>
    <p:notesMasterId r:id="rId61"/>
  </p:notesMasterIdLst>
  <p:sldIdLst>
    <p:sldId id="256" r:id="rId7"/>
    <p:sldId id="257" r:id="rId8"/>
    <p:sldId id="258" r:id="rId9"/>
    <p:sldId id="381" r:id="rId10"/>
    <p:sldId id="382" r:id="rId11"/>
    <p:sldId id="286" r:id="rId12"/>
    <p:sldId id="259" r:id="rId13"/>
    <p:sldId id="260" r:id="rId14"/>
    <p:sldId id="312" r:id="rId15"/>
    <p:sldId id="329" r:id="rId16"/>
    <p:sldId id="786" r:id="rId17"/>
    <p:sldId id="261" r:id="rId18"/>
    <p:sldId id="262" r:id="rId19"/>
    <p:sldId id="263" r:id="rId20"/>
    <p:sldId id="264" r:id="rId21"/>
    <p:sldId id="318" r:id="rId22"/>
    <p:sldId id="412" r:id="rId23"/>
    <p:sldId id="811" r:id="rId24"/>
    <p:sldId id="265" r:id="rId25"/>
    <p:sldId id="266" r:id="rId26"/>
    <p:sldId id="335" r:id="rId27"/>
    <p:sldId id="336" r:id="rId28"/>
    <p:sldId id="337" r:id="rId29"/>
    <p:sldId id="267" r:id="rId30"/>
    <p:sldId id="598" r:id="rId31"/>
    <p:sldId id="602" r:id="rId32"/>
    <p:sldId id="603" r:id="rId33"/>
    <p:sldId id="287" r:id="rId34"/>
    <p:sldId id="268" r:id="rId35"/>
    <p:sldId id="791" r:id="rId36"/>
    <p:sldId id="792" r:id="rId37"/>
    <p:sldId id="793" r:id="rId38"/>
    <p:sldId id="794" r:id="rId39"/>
    <p:sldId id="308" r:id="rId40"/>
    <p:sldId id="309" r:id="rId41"/>
    <p:sldId id="310" r:id="rId42"/>
    <p:sldId id="269" r:id="rId43"/>
    <p:sldId id="347" r:id="rId44"/>
    <p:sldId id="349" r:id="rId45"/>
    <p:sldId id="270" r:id="rId46"/>
    <p:sldId id="364" r:id="rId47"/>
    <p:sldId id="365" r:id="rId48"/>
    <p:sldId id="351" r:id="rId49"/>
    <p:sldId id="354" r:id="rId50"/>
    <p:sldId id="271" r:id="rId51"/>
    <p:sldId id="272" r:id="rId52"/>
    <p:sldId id="361" r:id="rId53"/>
    <p:sldId id="795" r:id="rId54"/>
    <p:sldId id="273" r:id="rId55"/>
    <p:sldId id="274" r:id="rId56"/>
    <p:sldId id="275" r:id="rId57"/>
    <p:sldId id="810" r:id="rId58"/>
    <p:sldId id="808" r:id="rId59"/>
    <p:sldId id="276" r:id="rId60"/>
  </p:sldIdLst>
  <p:sldSz cx="9144000" cy="6858000" type="screen4x3"/>
  <p:notesSz cx="6735763" cy="9866313"/>
  <p:embeddedFontLst>
    <p:embeddedFont>
      <p:font typeface="Calibri" panose="020F0502020204030204" pitchFamily="34" charset="0"/>
      <p:regular r:id="rId62"/>
      <p:bold r:id="rId63"/>
      <p:italic r:id="rId64"/>
      <p:boldItalic r:id="rId65"/>
    </p:embeddedFont>
    <p:embeddedFont>
      <p:font typeface="Helvetica" pitchFamily="2" charset="0"/>
      <p:regular r:id="rId66"/>
      <p:bold r:id="rId67"/>
      <p:italic r:id="rId68"/>
      <p:boldItalic r:id="rId69"/>
    </p:embeddedFont>
    <p:embeddedFont>
      <p:font typeface="Helvetica Neue" panose="02000503000000020004" pitchFamily="2" charset="0"/>
      <p:regular r:id="rId70"/>
      <p:bold r:id="rId71"/>
      <p:italic r:id="rId72"/>
      <p:boldItalic r:id="rId73"/>
    </p:embeddedFont>
    <p:embeddedFont>
      <p:font typeface="Merriweather Sans" pitchFamily="2" charset="77"/>
      <p:regular r:id="rId74"/>
      <p:bold r:id="rId75"/>
      <p:italic r:id="rId76"/>
      <p:boldItalic r:id="rId77"/>
    </p:embeddedFont>
    <p:embeddedFont>
      <p:font typeface="Poppins" pitchFamily="2" charset="77"/>
      <p:regular r:id="rId78"/>
      <p:bold r:id="rId79"/>
      <p:italic r:id="rId80"/>
      <p:boldItalic r:id="rId81"/>
    </p:embeddedFont>
    <p:embeddedFont>
      <p:font typeface="Poppins Light" panose="020B0604020202020204" pitchFamily="34" charset="0"/>
      <p:regular r:id="rId82"/>
      <p:italic r:id="rId83"/>
    </p:embeddedFont>
  </p:embeddedFontLst>
  <p:custDataLst>
    <p:tags r:id="rId8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000000"/>
          </p15:clr>
        </p15:guide>
        <p15:guide id="2" pos="2880">
          <p15:clr>
            <a:srgbClr val="000000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000000"/>
          </p15:clr>
        </p15:guide>
        <p15:guide id="2" pos="2122">
          <p15:clr>
            <a:srgbClr val="000000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85" roundtripDataSignature="AMtx7mhBnGD8Upb2bG7SOCYdR4BWxER7K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41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78FB86AA-4BF6-4CE0-A4B7-CB0C12452566}">
  <a:tblStyle styleId="{78FB86AA-4BF6-4CE0-A4B7-CB0C12452566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1"/>
    <p:restoredTop sz="94660"/>
  </p:normalViewPr>
  <p:slideViewPr>
    <p:cSldViewPr snapToGrid="0">
      <p:cViewPr varScale="1">
        <p:scale>
          <a:sx n="128" d="100"/>
          <a:sy n="128" d="100"/>
        </p:scale>
        <p:origin x="1704" y="1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108"/>
        <p:guide pos="212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font" Target="fonts/font2.fntdata"/><Relationship Id="rId68" Type="http://schemas.openxmlformats.org/officeDocument/2006/relationships/font" Target="fonts/font7.fntdata"/><Relationship Id="rId84" Type="http://schemas.openxmlformats.org/officeDocument/2006/relationships/tags" Target="tags/tag1.xml"/><Relationship Id="rId89" Type="http://schemas.openxmlformats.org/officeDocument/2006/relationships/tableStyles" Target="tableStyles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font" Target="fonts/font13.fntdata"/><Relationship Id="rId79" Type="http://schemas.openxmlformats.org/officeDocument/2006/relationships/font" Target="fonts/font18.fntdata"/><Relationship Id="rId5" Type="http://schemas.openxmlformats.org/officeDocument/2006/relationships/slideMaster" Target="slideMasters/slideMaster5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font" Target="fonts/font3.fntdata"/><Relationship Id="rId69" Type="http://schemas.openxmlformats.org/officeDocument/2006/relationships/font" Target="fonts/font8.fntdata"/><Relationship Id="rId77" Type="http://schemas.openxmlformats.org/officeDocument/2006/relationships/font" Target="fonts/font16.fntdata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font" Target="fonts/font11.fntdata"/><Relationship Id="rId80" Type="http://schemas.openxmlformats.org/officeDocument/2006/relationships/font" Target="fonts/font19.fntdata"/><Relationship Id="rId85" Type="http://customschemas.google.com/relationships/presentationmetadata" Target="meta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font" Target="fonts/font6.fntdata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font" Target="fonts/font1.fntdata"/><Relationship Id="rId70" Type="http://schemas.openxmlformats.org/officeDocument/2006/relationships/font" Target="fonts/font9.fntdata"/><Relationship Id="rId75" Type="http://schemas.openxmlformats.org/officeDocument/2006/relationships/font" Target="fonts/font14.fntdata"/><Relationship Id="rId83" Type="http://schemas.openxmlformats.org/officeDocument/2006/relationships/font" Target="fonts/font22.fntdata"/><Relationship Id="rId88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font" Target="fonts/font4.fntdata"/><Relationship Id="rId73" Type="http://schemas.openxmlformats.org/officeDocument/2006/relationships/font" Target="fonts/font12.fntdata"/><Relationship Id="rId78" Type="http://schemas.openxmlformats.org/officeDocument/2006/relationships/font" Target="fonts/font17.fntdata"/><Relationship Id="rId81" Type="http://schemas.openxmlformats.org/officeDocument/2006/relationships/font" Target="fonts/font20.fntdata"/><Relationship Id="rId86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font" Target="fonts/font15.fntdata"/><Relationship Id="rId7" Type="http://schemas.openxmlformats.org/officeDocument/2006/relationships/slide" Target="slides/slide1.xml"/><Relationship Id="rId71" Type="http://schemas.openxmlformats.org/officeDocument/2006/relationships/font" Target="fonts/font10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font" Target="fonts/font5.fntdata"/><Relationship Id="rId87" Type="http://schemas.openxmlformats.org/officeDocument/2006/relationships/viewProps" Target="viewProps.xml"/><Relationship Id="rId61" Type="http://schemas.openxmlformats.org/officeDocument/2006/relationships/notesMaster" Target="notesMasters/notesMaster1.xml"/><Relationship Id="rId82" Type="http://schemas.openxmlformats.org/officeDocument/2006/relationships/font" Target="fonts/font21.fntdata"/><Relationship Id="rId19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17825" cy="4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14762" y="0"/>
            <a:ext cx="2919412" cy="4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904875" y="741362"/>
            <a:ext cx="4927600" cy="36972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73100" y="4686300"/>
            <a:ext cx="5389562" cy="4438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371012"/>
            <a:ext cx="2917825" cy="4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14762" y="9371012"/>
            <a:ext cx="2919412" cy="4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ibolja.cernak@jhuapl.edu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75" y="741363"/>
            <a:ext cx="4927600" cy="36972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264" name="Google Shape;264;p1:notes"/>
          <p:cNvSpPr txBox="1">
            <a:spLocks noGrp="1"/>
          </p:cNvSpPr>
          <p:nvPr>
            <p:ph type="body" idx="1"/>
          </p:nvPr>
        </p:nvSpPr>
        <p:spPr>
          <a:xfrm>
            <a:off x="673100" y="4686300"/>
            <a:ext cx="5389562" cy="4438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:notes"/>
          <p:cNvSpPr txBox="1"/>
          <p:nvPr/>
        </p:nvSpPr>
        <p:spPr>
          <a:xfrm>
            <a:off x="3814762" y="9371012"/>
            <a:ext cx="2919412" cy="4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>
            <a:extLst>
              <a:ext uri="{FF2B5EF4-FFF2-40B4-BE49-F238E27FC236}">
                <a16:creationId xmlns:a16="http://schemas.microsoft.com/office/drawing/2014/main" id="{716198E8-1F71-7976-485D-1E9259845D8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DB067D97-A0E8-401B-BB39-B2B2B8417ADB}" type="slidenum">
              <a:rPr lang="en-US" altLang="pt-BR" smtClean="0"/>
              <a:pPr/>
              <a:t>10</a:t>
            </a:fld>
            <a:endParaRPr lang="en-US" altLang="pt-BR"/>
          </a:p>
        </p:txBody>
      </p:sp>
      <p:sp>
        <p:nvSpPr>
          <p:cNvPr id="28675" name="Rectangle 2">
            <a:extLst>
              <a:ext uri="{FF2B5EF4-FFF2-40B4-BE49-F238E27FC236}">
                <a16:creationId xmlns:a16="http://schemas.microsoft.com/office/drawing/2014/main" id="{46C1C459-E22D-E040-6B2C-27F5FDA9A14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28676" name="Rectangle 3">
            <a:extLst>
              <a:ext uri="{FF2B5EF4-FFF2-40B4-BE49-F238E27FC236}">
                <a16:creationId xmlns:a16="http://schemas.microsoft.com/office/drawing/2014/main" id="{A0A7C4C2-3C40-5B2C-07C3-F0CE8E2006A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Coppola</a:t>
            </a:r>
          </a:p>
          <a:p>
            <a:pPr eaLnBrk="1" hangingPunct="1"/>
            <a:endParaRPr lang="en-US" altLang="pt-B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>
            <a:extLst>
              <a:ext uri="{FF2B5EF4-FFF2-40B4-BE49-F238E27FC236}">
                <a16:creationId xmlns:a16="http://schemas.microsoft.com/office/drawing/2014/main" id="{24A136A5-EC74-C677-9A1B-72E13F6438D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1363"/>
            <a:ext cx="4927600" cy="3697287"/>
          </a:xfrm>
          <a:ln/>
        </p:spPr>
      </p:sp>
      <p:sp>
        <p:nvSpPr>
          <p:cNvPr id="30723" name="Notes Placeholder 2">
            <a:extLst>
              <a:ext uri="{FF2B5EF4-FFF2-40B4-BE49-F238E27FC236}">
                <a16:creationId xmlns:a16="http://schemas.microsoft.com/office/drawing/2014/main" id="{C86052AB-8A62-9874-36CD-0B9ADE9001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30724" name="Slide Number Placeholder 3">
            <a:extLst>
              <a:ext uri="{FF2B5EF4-FFF2-40B4-BE49-F238E27FC236}">
                <a16:creationId xmlns:a16="http://schemas.microsoft.com/office/drawing/2014/main" id="{B48417F1-39D9-B50A-D637-4E8BDFA53769}"/>
              </a:ext>
            </a:extLst>
          </p:cNvPr>
          <p:cNvSpPr txBox="1">
            <a:spLocks noGrp="1"/>
          </p:cNvSpPr>
          <p:nvPr/>
        </p:nvSpPr>
        <p:spPr bwMode="auto">
          <a:xfrm>
            <a:off x="3814763" y="9371013"/>
            <a:ext cx="2919412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51" tIns="48325" rIns="96651" bIns="48325" anchor="b"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E5C9C0FA-F3F4-4F74-86D2-BE865686ED00}" type="slidenum">
              <a:rPr lang="en-US" altLang="pt-BR" sz="1200"/>
              <a:pPr algn="r" eaLnBrk="1" hangingPunct="1"/>
              <a:t>11</a:t>
            </a:fld>
            <a:endParaRPr lang="en-US" altLang="pt-BR" sz="120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75" y="741363"/>
            <a:ext cx="4927600" cy="36972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302" name="Google Shape;302;p6:notes"/>
          <p:cNvSpPr txBox="1">
            <a:spLocks noGrp="1"/>
          </p:cNvSpPr>
          <p:nvPr>
            <p:ph type="body" idx="1"/>
          </p:nvPr>
        </p:nvSpPr>
        <p:spPr>
          <a:xfrm>
            <a:off x="673100" y="4686300"/>
            <a:ext cx="5389562" cy="4438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latin typeface="Merriweather Sans"/>
                <a:ea typeface="Merriweather Sans"/>
                <a:cs typeface="Merriweather Sans"/>
                <a:sym typeface="Merriweather Sans"/>
              </a:rPr>
              <a:t>Тепер кілька слів про турнікети, що використовуються при пошкодженні судин.</a:t>
            </a:r>
            <a:endParaRPr>
              <a:latin typeface="Merriweather Sans"/>
              <a:ea typeface="Merriweather Sans"/>
              <a:cs typeface="Merriweather Sans"/>
              <a:sym typeface="Merriweather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latin typeface="Merriweather Sans"/>
                <a:ea typeface="Merriweather Sans"/>
                <a:cs typeface="Merriweather Sans"/>
                <a:sym typeface="Merriweather Sans"/>
              </a:rPr>
              <a:t>По-перше, якщо їх наклали у польових умовах, я, зазвичай, вважаю, що ми маємо пошкодження судин, і знімаю їх тільки в операційній, де я вже можу контролювати  судини.</a:t>
            </a:r>
            <a:endParaRPr>
              <a:latin typeface="Merriweather Sans"/>
              <a:ea typeface="Merriweather Sans"/>
              <a:cs typeface="Merriweather Sans"/>
              <a:sym typeface="Merriweather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latin typeface="Merriweather Sans"/>
                <a:ea typeface="Merriweather Sans"/>
                <a:cs typeface="Merriweather Sans"/>
                <a:sym typeface="Merriweather Sans"/>
              </a:rPr>
              <a:t>По-друге, якщо у пацієнта травма судин кінцівки і рясна кровотеча, я накладаю турнікети в травматологічному відділенні, щоб полегшити його реанімацію.</a:t>
            </a:r>
            <a:endParaRPr>
              <a:latin typeface="Merriweather Sans"/>
              <a:ea typeface="Merriweather Sans"/>
              <a:cs typeface="Merriweather Sans"/>
              <a:sym typeface="Merriweather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latin typeface="Merriweather Sans"/>
                <a:ea typeface="Merriweather Sans"/>
                <a:cs typeface="Merriweather Sans"/>
                <a:sym typeface="Merriweather Sans"/>
              </a:rPr>
              <a:t>Це дуже ДУЖЕ важливий момент, як сказав один із наших колег в нещодавній статті в Annals of Surgery — турнікети рятують життя!</a:t>
            </a:r>
            <a:endParaRPr>
              <a:latin typeface="Merriweather Sans"/>
              <a:ea typeface="Merriweather Sans"/>
              <a:cs typeface="Merriweather Sans"/>
              <a:sym typeface="Merriweather San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Font typeface="Merriweather Sans"/>
              <a:buNone/>
            </a:pPr>
            <a:endParaRPr>
              <a:latin typeface="Merriweather Sans"/>
              <a:ea typeface="Merriweather Sans"/>
              <a:cs typeface="Merriweather Sans"/>
              <a:sym typeface="Merriweather Sans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Google Shape;319;p7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0" name="Google Shape;32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p8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8" name="Google Shape;328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9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6" name="Google Shape;33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>
            <a:extLst>
              <a:ext uri="{FF2B5EF4-FFF2-40B4-BE49-F238E27FC236}">
                <a16:creationId xmlns:a16="http://schemas.microsoft.com/office/drawing/2014/main" id="{0D45854B-869A-BC08-0FEB-666B4D30554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86B56B6-E697-47C0-884F-864071204A46}" type="slidenum">
              <a:rPr lang="en-US" altLang="pt-BR" smtClean="0"/>
              <a:pPr/>
              <a:t>16</a:t>
            </a:fld>
            <a:endParaRPr lang="en-US" altLang="pt-BR"/>
          </a:p>
        </p:txBody>
      </p:sp>
      <p:sp>
        <p:nvSpPr>
          <p:cNvPr id="40963" name="Rectangle 2">
            <a:extLst>
              <a:ext uri="{FF2B5EF4-FFF2-40B4-BE49-F238E27FC236}">
                <a16:creationId xmlns:a16="http://schemas.microsoft.com/office/drawing/2014/main" id="{35F62240-E87E-FAE8-0636-842F15DD405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40964" name="Rectangle 3">
            <a:extLst>
              <a:ext uri="{FF2B5EF4-FFF2-40B4-BE49-F238E27FC236}">
                <a16:creationId xmlns:a16="http://schemas.microsoft.com/office/drawing/2014/main" id="{0364F64B-0614-4BF9-4DE4-85CAB08E3C2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Coppola</a:t>
            </a:r>
          </a:p>
          <a:p>
            <a:pPr eaLnBrk="1" hangingPunct="1"/>
            <a:endParaRPr lang="en-US" altLang="pt-BR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>
            <a:extLst>
              <a:ext uri="{FF2B5EF4-FFF2-40B4-BE49-F238E27FC236}">
                <a16:creationId xmlns:a16="http://schemas.microsoft.com/office/drawing/2014/main" id="{1186789A-F261-D404-EB35-EBAD656B6C4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ln/>
        </p:spPr>
      </p:sp>
      <p:sp>
        <p:nvSpPr>
          <p:cNvPr id="43011" name="Notes Placeholder 2">
            <a:extLst>
              <a:ext uri="{FF2B5EF4-FFF2-40B4-BE49-F238E27FC236}">
                <a16:creationId xmlns:a16="http://schemas.microsoft.com/office/drawing/2014/main" id="{D0E17F8F-3088-70BC-4BC0-FA155803C70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>
            <a:extLst>
              <a:ext uri="{FF2B5EF4-FFF2-40B4-BE49-F238E27FC236}">
                <a16:creationId xmlns:a16="http://schemas.microsoft.com/office/drawing/2014/main" id="{E4575FA4-F42D-2B4A-4C20-281DD4036D7B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75" y="741363"/>
            <a:ext cx="4927600" cy="3697287"/>
          </a:xfrm>
          <a:ln/>
        </p:spPr>
      </p:sp>
      <p:sp>
        <p:nvSpPr>
          <p:cNvPr id="45059" name="Notes Placeholder 2">
            <a:extLst>
              <a:ext uri="{FF2B5EF4-FFF2-40B4-BE49-F238E27FC236}">
                <a16:creationId xmlns:a16="http://schemas.microsoft.com/office/drawing/2014/main" id="{ACD5CF5B-F13C-68DB-7149-85CA446E1A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  <p:sp>
        <p:nvSpPr>
          <p:cNvPr id="45060" name="Slide Number Placeholder 3">
            <a:extLst>
              <a:ext uri="{FF2B5EF4-FFF2-40B4-BE49-F238E27FC236}">
                <a16:creationId xmlns:a16="http://schemas.microsoft.com/office/drawing/2014/main" id="{2A1D90F3-3165-4AEB-214D-58AAF200EF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6250853-E4D1-434F-99AC-91961B60616C}" type="slidenum">
              <a:rPr lang="en-US" altLang="pt-BR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18</a:t>
            </a:fld>
            <a:endParaRPr lang="en-US" altLang="pt-BR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10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2:notes"/>
          <p:cNvSpPr txBox="1"/>
          <p:nvPr/>
        </p:nvSpPr>
        <p:spPr>
          <a:xfrm>
            <a:off x="3814762" y="9371012"/>
            <a:ext cx="2919412" cy="4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fld>
            <a:endParaRPr/>
          </a:p>
        </p:txBody>
      </p:sp>
      <p:sp>
        <p:nvSpPr>
          <p:cNvPr id="272" name="Google Shape;27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273" name="Google Shape;273;p2:notes"/>
          <p:cNvSpPr txBox="1">
            <a:spLocks noGrp="1"/>
          </p:cNvSpPr>
          <p:nvPr>
            <p:ph type="body" idx="1"/>
          </p:nvPr>
        </p:nvSpPr>
        <p:spPr>
          <a:xfrm>
            <a:off x="898525" y="4684712"/>
            <a:ext cx="4938712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/>
              <a:t>MRE</a:t>
            </a: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" name="Google Shape;351;p11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2" name="Google Shape;352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>
            <a:extLst>
              <a:ext uri="{FF2B5EF4-FFF2-40B4-BE49-F238E27FC236}">
                <a16:creationId xmlns:a16="http://schemas.microsoft.com/office/drawing/2014/main" id="{78C2F9A5-2F27-2E4A-7AC0-D655510D517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15B68CD-9300-4429-B0FE-31AFB55E704E}" type="slidenum">
              <a:rPr lang="en-US" altLang="pt-BR" smtClean="0"/>
              <a:pPr/>
              <a:t>21</a:t>
            </a:fld>
            <a:endParaRPr lang="en-US" altLang="pt-BR"/>
          </a:p>
        </p:txBody>
      </p:sp>
      <p:sp>
        <p:nvSpPr>
          <p:cNvPr id="49155" name="Rectangle 2">
            <a:extLst>
              <a:ext uri="{FF2B5EF4-FFF2-40B4-BE49-F238E27FC236}">
                <a16:creationId xmlns:a16="http://schemas.microsoft.com/office/drawing/2014/main" id="{6BC8DA10-817E-3CA2-A1C1-B5234491C30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49156" name="Rectangle 3">
            <a:extLst>
              <a:ext uri="{FF2B5EF4-FFF2-40B4-BE49-F238E27FC236}">
                <a16:creationId xmlns:a16="http://schemas.microsoft.com/office/drawing/2014/main" id="{95CE0288-A823-EF39-3EF0-4FF43AB3CFC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3yo blast fragment to head – Azarow</a:t>
            </a:r>
          </a:p>
          <a:p>
            <a:pPr eaLnBrk="1" hangingPunct="1"/>
            <a:r>
              <a:rPr lang="en-US" altLang="pt-BR"/>
              <a:t>This was labelled GSW but as you can see from the CT it is a fragment from a blast. This was actually an Iraqi physician's child who was invovled in a blast injury. We have permission to show. The physician actually got her son shipped to the states for rehab because she knew there was none available. </a:t>
            </a: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>
            <a:extLst>
              <a:ext uri="{FF2B5EF4-FFF2-40B4-BE49-F238E27FC236}">
                <a16:creationId xmlns:a16="http://schemas.microsoft.com/office/drawing/2014/main" id="{476D4633-7118-EA92-F695-11B2DDB1E94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C64BECD-B7D2-425E-BAC1-0F5CD0A41A4E}" type="slidenum">
              <a:rPr lang="en-US" altLang="pt-BR" smtClean="0"/>
              <a:pPr/>
              <a:t>22</a:t>
            </a:fld>
            <a:endParaRPr lang="en-US" altLang="pt-BR"/>
          </a:p>
        </p:txBody>
      </p:sp>
      <p:sp>
        <p:nvSpPr>
          <p:cNvPr id="51203" name="Rectangle 7">
            <a:extLst>
              <a:ext uri="{FF2B5EF4-FFF2-40B4-BE49-F238E27FC236}">
                <a16:creationId xmlns:a16="http://schemas.microsoft.com/office/drawing/2014/main" id="{9A24B5D4-388F-9F14-2D43-BD84A01F3536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17938" y="9372600"/>
            <a:ext cx="2917825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1" rIns="96642" bIns="48321" anchor="b"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10DD2969-BF21-43E2-8DA1-9C388FE25194}" type="slidenum">
              <a:rPr lang="en-US" altLang="pt-BR" sz="1200">
                <a:latin typeface="Times New Roman" panose="02020603050405020304" pitchFamily="18" charset="0"/>
              </a:rPr>
              <a:pPr algn="r" eaLnBrk="1" hangingPunct="1"/>
              <a:t>22</a:t>
            </a:fld>
            <a:endParaRPr lang="en-US" altLang="pt-BR" sz="1200">
              <a:latin typeface="Times New Roman" panose="02020603050405020304" pitchFamily="18" charset="0"/>
            </a:endParaRPr>
          </a:p>
        </p:txBody>
      </p:sp>
      <p:sp>
        <p:nvSpPr>
          <p:cNvPr id="51204" name="Rectangle 2">
            <a:extLst>
              <a:ext uri="{FF2B5EF4-FFF2-40B4-BE49-F238E27FC236}">
                <a16:creationId xmlns:a16="http://schemas.microsoft.com/office/drawing/2014/main" id="{B1CC580A-AE3A-C8AC-0A47-C6C0259F2B6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51205" name="Rectangle 3">
            <a:extLst>
              <a:ext uri="{FF2B5EF4-FFF2-40B4-BE49-F238E27FC236}">
                <a16:creationId xmlns:a16="http://schemas.microsoft.com/office/drawing/2014/main" id="{A31BEDE0-068D-93E8-B68F-89EA61FDC8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96938" y="4686300"/>
            <a:ext cx="4941887" cy="44386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42" tIns="48321" rIns="96642" bIns="48321"/>
          <a:lstStyle/>
          <a:p>
            <a:pPr eaLnBrk="1" hangingPunct="1"/>
            <a:r>
              <a:rPr lang="en-US" altLang="pt-BR"/>
              <a:t>Coppola</a:t>
            </a:r>
          </a:p>
          <a:p>
            <a:pPr eaLnBrk="1" hangingPunct="1"/>
            <a:endParaRPr lang="en-US" altLang="pt-BR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>
            <a:extLst>
              <a:ext uri="{FF2B5EF4-FFF2-40B4-BE49-F238E27FC236}">
                <a16:creationId xmlns:a16="http://schemas.microsoft.com/office/drawing/2014/main" id="{268446A5-1CA0-6CD1-989C-23CA99B2162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10B5BB3-DFAA-4066-979F-C521DB92EEC3}" type="slidenum">
              <a:rPr lang="en-US" altLang="pt-BR" smtClean="0"/>
              <a:pPr/>
              <a:t>23</a:t>
            </a:fld>
            <a:endParaRPr lang="en-US" altLang="pt-BR"/>
          </a:p>
        </p:txBody>
      </p:sp>
      <p:sp>
        <p:nvSpPr>
          <p:cNvPr id="53251" name="Rectangle 2">
            <a:extLst>
              <a:ext uri="{FF2B5EF4-FFF2-40B4-BE49-F238E27FC236}">
                <a16:creationId xmlns:a16="http://schemas.microsoft.com/office/drawing/2014/main" id="{11D98A6A-AD31-B035-FD31-EC774B63B0F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53252" name="Rectangle 3">
            <a:extLst>
              <a:ext uri="{FF2B5EF4-FFF2-40B4-BE49-F238E27FC236}">
                <a16:creationId xmlns:a16="http://schemas.microsoft.com/office/drawing/2014/main" id="{A6E0E941-D18B-F071-4194-E6F91128CD8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Coppola</a:t>
            </a:r>
          </a:p>
          <a:p>
            <a:pPr eaLnBrk="1" hangingPunct="1"/>
            <a:endParaRPr lang="en-US" altLang="pt-BR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Google Shape;359;p12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0" name="Google Shape;36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Image Placeholder 1">
            <a:extLst>
              <a:ext uri="{FF2B5EF4-FFF2-40B4-BE49-F238E27FC236}">
                <a16:creationId xmlns:a16="http://schemas.microsoft.com/office/drawing/2014/main" id="{88453D18-F770-34B2-DE2C-6E2EDF84D07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2950"/>
            <a:ext cx="4927600" cy="3695700"/>
          </a:xfrm>
          <a:ln/>
        </p:spPr>
      </p:sp>
      <p:sp>
        <p:nvSpPr>
          <p:cNvPr id="57347" name="Notes Placeholder 2">
            <a:extLst>
              <a:ext uri="{FF2B5EF4-FFF2-40B4-BE49-F238E27FC236}">
                <a16:creationId xmlns:a16="http://schemas.microsoft.com/office/drawing/2014/main" id="{0BED3E43-11D6-59A7-4861-5962838F0C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100" y="4684713"/>
            <a:ext cx="5389563" cy="44386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24" tIns="47361" rIns="94724" bIns="47361"/>
          <a:lstStyle/>
          <a:p>
            <a:endParaRPr lang="pt-BR" altLang="pt-BR"/>
          </a:p>
        </p:txBody>
      </p:sp>
      <p:sp>
        <p:nvSpPr>
          <p:cNvPr id="57348" name="Slide Number Placeholder 3">
            <a:extLst>
              <a:ext uri="{FF2B5EF4-FFF2-40B4-BE49-F238E27FC236}">
                <a16:creationId xmlns:a16="http://schemas.microsoft.com/office/drawing/2014/main" id="{6C16B4B3-2515-FB57-C36D-C65223EAC001}"/>
              </a:ext>
            </a:extLst>
          </p:cNvPr>
          <p:cNvSpPr txBox="1">
            <a:spLocks noGrp="1"/>
          </p:cNvSpPr>
          <p:nvPr/>
        </p:nvSpPr>
        <p:spPr bwMode="auto">
          <a:xfrm>
            <a:off x="3811588" y="9372600"/>
            <a:ext cx="29225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24" tIns="47361" rIns="94724" bIns="47361" anchor="b"/>
          <a:lstStyle>
            <a:lvl1pPr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54D4794A-BC1C-4F2B-951D-48795DECB9B0}" type="slidenum">
              <a:rPr lang="en-US" altLang="pt-BR" sz="1200">
                <a:latin typeface="Times New Roman" panose="02020603050405020304" pitchFamily="18" charset="0"/>
              </a:rPr>
              <a:pPr algn="r"/>
              <a:t>25</a:t>
            </a:fld>
            <a:endParaRPr lang="en-US" altLang="pt-BR" sz="12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>
            <a:extLst>
              <a:ext uri="{FF2B5EF4-FFF2-40B4-BE49-F238E27FC236}">
                <a16:creationId xmlns:a16="http://schemas.microsoft.com/office/drawing/2014/main" id="{D574B714-C0DF-EA9D-D5EF-3915379A7DB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2950"/>
            <a:ext cx="4927600" cy="3695700"/>
          </a:xfrm>
          <a:ln/>
        </p:spPr>
      </p:sp>
      <p:sp>
        <p:nvSpPr>
          <p:cNvPr id="59395" name="Notes Placeholder 2">
            <a:extLst>
              <a:ext uri="{FF2B5EF4-FFF2-40B4-BE49-F238E27FC236}">
                <a16:creationId xmlns:a16="http://schemas.microsoft.com/office/drawing/2014/main" id="{8B460CFF-1B22-9595-4438-128ADC1FB8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100" y="4684713"/>
            <a:ext cx="5389563" cy="44386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24" tIns="47361" rIns="94724" bIns="47361"/>
          <a:lstStyle/>
          <a:p>
            <a:endParaRPr lang="pt-BR" altLang="pt-BR"/>
          </a:p>
        </p:txBody>
      </p:sp>
      <p:sp>
        <p:nvSpPr>
          <p:cNvPr id="59396" name="Slide Number Placeholder 3">
            <a:extLst>
              <a:ext uri="{FF2B5EF4-FFF2-40B4-BE49-F238E27FC236}">
                <a16:creationId xmlns:a16="http://schemas.microsoft.com/office/drawing/2014/main" id="{CDE3A716-B217-7743-5F6B-EC66E3C1CB34}"/>
              </a:ext>
            </a:extLst>
          </p:cNvPr>
          <p:cNvSpPr txBox="1">
            <a:spLocks noGrp="1"/>
          </p:cNvSpPr>
          <p:nvPr/>
        </p:nvSpPr>
        <p:spPr bwMode="auto">
          <a:xfrm>
            <a:off x="3811588" y="9372600"/>
            <a:ext cx="29225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24" tIns="47361" rIns="94724" bIns="47361" anchor="b"/>
          <a:lstStyle>
            <a:lvl1pPr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DB8E281E-6F55-4B07-87C7-2197EA86CD33}" type="slidenum">
              <a:rPr lang="en-US" altLang="pt-BR" sz="1200">
                <a:latin typeface="Times New Roman" panose="02020603050405020304" pitchFamily="18" charset="0"/>
              </a:rPr>
              <a:pPr algn="r"/>
              <a:t>26</a:t>
            </a:fld>
            <a:endParaRPr lang="en-US" altLang="pt-BR" sz="12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>
            <a:extLst>
              <a:ext uri="{FF2B5EF4-FFF2-40B4-BE49-F238E27FC236}">
                <a16:creationId xmlns:a16="http://schemas.microsoft.com/office/drawing/2014/main" id="{85402F89-4755-BBF1-399B-C3E0067E87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2950"/>
            <a:ext cx="4927600" cy="3695700"/>
          </a:xfrm>
          <a:ln/>
        </p:spPr>
      </p:sp>
      <p:sp>
        <p:nvSpPr>
          <p:cNvPr id="61443" name="Notes Placeholder 2">
            <a:extLst>
              <a:ext uri="{FF2B5EF4-FFF2-40B4-BE49-F238E27FC236}">
                <a16:creationId xmlns:a16="http://schemas.microsoft.com/office/drawing/2014/main" id="{B4F34052-6FEC-3FBF-D4AC-A748C60F7B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100" y="4684713"/>
            <a:ext cx="5389563" cy="44386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24" tIns="47361" rIns="94724" bIns="47361"/>
          <a:lstStyle/>
          <a:p>
            <a:endParaRPr lang="pt-BR" altLang="pt-BR"/>
          </a:p>
        </p:txBody>
      </p:sp>
      <p:sp>
        <p:nvSpPr>
          <p:cNvPr id="61444" name="Slide Number Placeholder 3">
            <a:extLst>
              <a:ext uri="{FF2B5EF4-FFF2-40B4-BE49-F238E27FC236}">
                <a16:creationId xmlns:a16="http://schemas.microsoft.com/office/drawing/2014/main" id="{74829FFC-F6D1-0E8C-2BE2-49E9F722194D}"/>
              </a:ext>
            </a:extLst>
          </p:cNvPr>
          <p:cNvSpPr txBox="1">
            <a:spLocks noGrp="1"/>
          </p:cNvSpPr>
          <p:nvPr/>
        </p:nvSpPr>
        <p:spPr bwMode="auto">
          <a:xfrm>
            <a:off x="3811588" y="9372600"/>
            <a:ext cx="292258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24" tIns="47361" rIns="94724" bIns="47361" anchor="b"/>
          <a:lstStyle>
            <a:lvl1pPr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461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66B4A8E4-4B07-4728-98BD-DC7CF47368B7}" type="slidenum">
              <a:rPr lang="en-US" altLang="pt-BR" sz="1200">
                <a:latin typeface="Times New Roman" panose="02020603050405020304" pitchFamily="18" charset="0"/>
              </a:rPr>
              <a:pPr algn="r"/>
              <a:t>27</a:t>
            </a:fld>
            <a:endParaRPr lang="en-US" altLang="pt-BR" sz="120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>
            <a:extLst>
              <a:ext uri="{FF2B5EF4-FFF2-40B4-BE49-F238E27FC236}">
                <a16:creationId xmlns:a16="http://schemas.microsoft.com/office/drawing/2014/main" id="{B3DD7B9D-FF36-1679-48CD-7D518AEB012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1363"/>
            <a:ext cx="4927600" cy="3697287"/>
          </a:xfrm>
          <a:ln/>
        </p:spPr>
      </p:sp>
      <p:sp>
        <p:nvSpPr>
          <p:cNvPr id="63491" name="Notes Placeholder 2">
            <a:extLst>
              <a:ext uri="{FF2B5EF4-FFF2-40B4-BE49-F238E27FC236}">
                <a16:creationId xmlns:a16="http://schemas.microsoft.com/office/drawing/2014/main" id="{F3FD033D-E43A-F34A-95DC-292628526B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ea typeface="MS PGothic" panose="020B0600070205080204" pitchFamily="34" charset="-128"/>
              </a:rPr>
              <a:t>Peppering across chest wall seen with shrapnel from blast injury – how to address</a:t>
            </a:r>
          </a:p>
        </p:txBody>
      </p:sp>
      <p:sp>
        <p:nvSpPr>
          <p:cNvPr id="63492" name="Slide Number Placeholder 3">
            <a:extLst>
              <a:ext uri="{FF2B5EF4-FFF2-40B4-BE49-F238E27FC236}">
                <a16:creationId xmlns:a16="http://schemas.microsoft.com/office/drawing/2014/main" id="{8DA07D70-95CA-A47B-D1D2-6718D3D78D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6C32970-3662-425F-8649-424E17DFE6C8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28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Google Shape;367;p13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" name="Google Shape;368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3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0" name="Google Shape;28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>
            <a:extLst>
              <a:ext uri="{FF2B5EF4-FFF2-40B4-BE49-F238E27FC236}">
                <a16:creationId xmlns:a16="http://schemas.microsoft.com/office/drawing/2014/main" id="{ED3481B8-C769-8C81-706C-19849A634BA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7" name="Notes Placeholder 2">
            <a:extLst>
              <a:ext uri="{FF2B5EF4-FFF2-40B4-BE49-F238E27FC236}">
                <a16:creationId xmlns:a16="http://schemas.microsoft.com/office/drawing/2014/main" id="{C28DF15F-8465-99EF-585B-B29A4C7A78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ea typeface="MS PGothic" panose="020B0600070205080204" pitchFamily="34" charset="-128"/>
              </a:rPr>
              <a:t>Unilateral injury causes shunt through diseased lungs</a:t>
            </a:r>
          </a:p>
          <a:p>
            <a:r>
              <a:rPr lang="en-US" altLang="en-US">
                <a:ea typeface="MS PGothic" panose="020B0600070205080204" pitchFamily="34" charset="-128"/>
              </a:rPr>
              <a:t>Submissive hypoxemia</a:t>
            </a:r>
          </a:p>
          <a:p>
            <a:r>
              <a:rPr lang="en-US" altLang="en-US">
                <a:ea typeface="MS PGothic" panose="020B0600070205080204" pitchFamily="34" charset="-128"/>
              </a:rPr>
              <a:t>Differential lung ventilation</a:t>
            </a:r>
          </a:p>
          <a:p>
            <a:endParaRPr lang="en-US" altLang="en-US">
              <a:ea typeface="MS PGothic" panose="020B0600070205080204" pitchFamily="34" charset="-128"/>
            </a:endParaRPr>
          </a:p>
        </p:txBody>
      </p:sp>
      <p:sp>
        <p:nvSpPr>
          <p:cNvPr id="67588" name="Slide Number Placeholder 3">
            <a:extLst>
              <a:ext uri="{FF2B5EF4-FFF2-40B4-BE49-F238E27FC236}">
                <a16:creationId xmlns:a16="http://schemas.microsoft.com/office/drawing/2014/main" id="{F9E9BC30-120E-45C6-1743-06C7FA82AB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7863E15-DDD2-4B93-A717-D38B54866F17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30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>
            <a:extLst>
              <a:ext uri="{FF2B5EF4-FFF2-40B4-BE49-F238E27FC236}">
                <a16:creationId xmlns:a16="http://schemas.microsoft.com/office/drawing/2014/main" id="{CF2DCF4C-5823-C050-AB21-87AABE19F2E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>
            <a:extLst>
              <a:ext uri="{FF2B5EF4-FFF2-40B4-BE49-F238E27FC236}">
                <a16:creationId xmlns:a16="http://schemas.microsoft.com/office/drawing/2014/main" id="{648E5980-7042-908F-0308-1EEEB8502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en-US">
                <a:ea typeface="MS PGothic" panose="020B0600070205080204" pitchFamily="34" charset="-128"/>
              </a:rPr>
              <a:t>Double lumen endotracheal tube for lung isolation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>
                <a:ea typeface="MS PGothic" panose="020B0600070205080204" pitchFamily="34" charset="-128"/>
              </a:rPr>
              <a:t>It isnt fun or easy, but it might work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>
                <a:ea typeface="MS PGothic" panose="020B0600070205080204" pitchFamily="34" charset="-128"/>
              </a:rPr>
              <a:t>Difficulty suctioning / clearing secretions due to smaller lumen size</a:t>
            </a:r>
          </a:p>
        </p:txBody>
      </p:sp>
      <p:sp>
        <p:nvSpPr>
          <p:cNvPr id="69636" name="Slide Number Placeholder 3">
            <a:extLst>
              <a:ext uri="{FF2B5EF4-FFF2-40B4-BE49-F238E27FC236}">
                <a16:creationId xmlns:a16="http://schemas.microsoft.com/office/drawing/2014/main" id="{BF3D6D0D-DAA5-441C-6C55-C835670E37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CAA6B9B-2711-4657-A26E-2C2BE9BEE7ED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31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>
            <a:extLst>
              <a:ext uri="{FF2B5EF4-FFF2-40B4-BE49-F238E27FC236}">
                <a16:creationId xmlns:a16="http://schemas.microsoft.com/office/drawing/2014/main" id="{5592C40F-DA2B-F2AB-FA4D-AE9BA99B491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Notes Placeholder 2">
            <a:extLst>
              <a:ext uri="{FF2B5EF4-FFF2-40B4-BE49-F238E27FC236}">
                <a16:creationId xmlns:a16="http://schemas.microsoft.com/office/drawing/2014/main" id="{A2843AD3-F111-7D09-1752-F49B6AA53B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ea typeface="MS PGothic" panose="020B0600070205080204" pitchFamily="34" charset="-128"/>
              </a:rPr>
              <a:t>Contused lung</a:t>
            </a:r>
          </a:p>
        </p:txBody>
      </p:sp>
      <p:sp>
        <p:nvSpPr>
          <p:cNvPr id="71684" name="Slide Number Placeholder 3">
            <a:extLst>
              <a:ext uri="{FF2B5EF4-FFF2-40B4-BE49-F238E27FC236}">
                <a16:creationId xmlns:a16="http://schemas.microsoft.com/office/drawing/2014/main" id="{4FA588EA-D896-9E5E-40AC-5BCEC7DC37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EB31886-2BC6-4E02-9604-0C9E8716C1DA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32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>
            <a:extLst>
              <a:ext uri="{FF2B5EF4-FFF2-40B4-BE49-F238E27FC236}">
                <a16:creationId xmlns:a16="http://schemas.microsoft.com/office/drawing/2014/main" id="{62D2EE76-3CB3-907D-FEF7-59EF07F7135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>
            <a:extLst>
              <a:ext uri="{FF2B5EF4-FFF2-40B4-BE49-F238E27FC236}">
                <a16:creationId xmlns:a16="http://schemas.microsoft.com/office/drawing/2014/main" id="{C7716A46-DADB-0092-94D4-C829545A95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en-US">
                <a:ea typeface="MS PGothic" panose="020B0600070205080204" pitchFamily="34" charset="-128"/>
              </a:rPr>
              <a:t>Alveolar hemorrhage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>
                <a:ea typeface="MS PGothic" panose="020B0600070205080204" pitchFamily="34" charset="-128"/>
              </a:rPr>
              <a:t>http://pathhsw5m54.ucsf.edu/overview/interstitial9.html</a:t>
            </a:r>
          </a:p>
        </p:txBody>
      </p:sp>
      <p:sp>
        <p:nvSpPr>
          <p:cNvPr id="73732" name="Slide Number Placeholder 3">
            <a:extLst>
              <a:ext uri="{FF2B5EF4-FFF2-40B4-BE49-F238E27FC236}">
                <a16:creationId xmlns:a16="http://schemas.microsoft.com/office/drawing/2014/main" id="{49892CF3-6987-0144-6CCA-2D93524E4D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CB3D17F-7B46-4C4E-9CDC-EF4E88BE9391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33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>
            <a:extLst>
              <a:ext uri="{FF2B5EF4-FFF2-40B4-BE49-F238E27FC236}">
                <a16:creationId xmlns:a16="http://schemas.microsoft.com/office/drawing/2014/main" id="{09B95B42-2D6A-28DF-313B-0C3B69FEFC6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79" name="Notes Placeholder 2">
            <a:extLst>
              <a:ext uri="{FF2B5EF4-FFF2-40B4-BE49-F238E27FC236}">
                <a16:creationId xmlns:a16="http://schemas.microsoft.com/office/drawing/2014/main" id="{A8B32DFE-EF0F-ABAC-DA6D-AD377B587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ea typeface="MS PGothic" panose="020B0600070205080204" pitchFamily="34" charset="-128"/>
            </a:endParaRPr>
          </a:p>
        </p:txBody>
      </p:sp>
      <p:sp>
        <p:nvSpPr>
          <p:cNvPr id="75780" name="Slide Number Placeholder 3">
            <a:extLst>
              <a:ext uri="{FF2B5EF4-FFF2-40B4-BE49-F238E27FC236}">
                <a16:creationId xmlns:a16="http://schemas.microsoft.com/office/drawing/2014/main" id="{21AACC3F-E00A-0653-F0AB-DCC9AC5B59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CA3BD9D5-2ABD-4D15-BF89-D7A4237C8BB7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34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>
            <a:extLst>
              <a:ext uri="{FF2B5EF4-FFF2-40B4-BE49-F238E27FC236}">
                <a16:creationId xmlns:a16="http://schemas.microsoft.com/office/drawing/2014/main" id="{B065D3C7-891A-388A-94C1-1D086B54106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7" name="Notes Placeholder 2">
            <a:extLst>
              <a:ext uri="{FF2B5EF4-FFF2-40B4-BE49-F238E27FC236}">
                <a16:creationId xmlns:a16="http://schemas.microsoft.com/office/drawing/2014/main" id="{D23CD6FC-A498-D654-F029-E7FE0EBC4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ea typeface="MS PGothic" panose="020B0600070205080204" pitchFamily="34" charset="-128"/>
            </a:endParaRPr>
          </a:p>
        </p:txBody>
      </p:sp>
      <p:sp>
        <p:nvSpPr>
          <p:cNvPr id="77828" name="Slide Number Placeholder 3">
            <a:extLst>
              <a:ext uri="{FF2B5EF4-FFF2-40B4-BE49-F238E27FC236}">
                <a16:creationId xmlns:a16="http://schemas.microsoft.com/office/drawing/2014/main" id="{1A3A645F-52D6-B5BC-6B68-D26BDE8838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0BDDFE04-76F9-414D-88BE-F54F047BF9AC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35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>
            <a:extLst>
              <a:ext uri="{FF2B5EF4-FFF2-40B4-BE49-F238E27FC236}">
                <a16:creationId xmlns:a16="http://schemas.microsoft.com/office/drawing/2014/main" id="{9E77DBE8-A8B7-EC78-CB1B-1791CD07C58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>
            <a:extLst>
              <a:ext uri="{FF2B5EF4-FFF2-40B4-BE49-F238E27FC236}">
                <a16:creationId xmlns:a16="http://schemas.microsoft.com/office/drawing/2014/main" id="{84C4B5B8-EB6B-88F9-9E76-73C97599C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ea typeface="MS PGothic" panose="020B0600070205080204" pitchFamily="34" charset="-128"/>
            </a:endParaRPr>
          </a:p>
        </p:txBody>
      </p:sp>
      <p:sp>
        <p:nvSpPr>
          <p:cNvPr id="79876" name="Slide Number Placeholder 3">
            <a:extLst>
              <a:ext uri="{FF2B5EF4-FFF2-40B4-BE49-F238E27FC236}">
                <a16:creationId xmlns:a16="http://schemas.microsoft.com/office/drawing/2014/main" id="{03856802-E549-6129-9923-88EE1F2D05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754DCC7-1910-41D9-AAAA-B96E07F63207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36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4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5" name="Google Shape;375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>
            <a:extLst>
              <a:ext uri="{FF2B5EF4-FFF2-40B4-BE49-F238E27FC236}">
                <a16:creationId xmlns:a16="http://schemas.microsoft.com/office/drawing/2014/main" id="{0D39A5E1-2703-1B03-C9CC-B44A39D4EB2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D6C23F3-D982-4DDB-9746-C2A6835D08CE}" type="slidenum">
              <a:rPr lang="en-US" altLang="pt-BR" smtClean="0"/>
              <a:pPr/>
              <a:t>38</a:t>
            </a:fld>
            <a:endParaRPr lang="en-US" altLang="pt-BR"/>
          </a:p>
        </p:txBody>
      </p:sp>
      <p:sp>
        <p:nvSpPr>
          <p:cNvPr id="83971" name="Rectangle 2">
            <a:extLst>
              <a:ext uri="{FF2B5EF4-FFF2-40B4-BE49-F238E27FC236}">
                <a16:creationId xmlns:a16="http://schemas.microsoft.com/office/drawing/2014/main" id="{E477762F-DF9F-28AC-CADC-81B7184D3BD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83972" name="Rectangle 3">
            <a:extLst>
              <a:ext uri="{FF2B5EF4-FFF2-40B4-BE49-F238E27FC236}">
                <a16:creationId xmlns:a16="http://schemas.microsoft.com/office/drawing/2014/main" id="{62DDC945-3767-8176-6E26-25B04A16AEA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Coppola</a:t>
            </a:r>
          </a:p>
          <a:p>
            <a:pPr eaLnBrk="1" hangingPunct="1"/>
            <a:endParaRPr lang="en-US" altLang="pt-BR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>
            <a:extLst>
              <a:ext uri="{FF2B5EF4-FFF2-40B4-BE49-F238E27FC236}">
                <a16:creationId xmlns:a16="http://schemas.microsoft.com/office/drawing/2014/main" id="{C28E698E-76CB-0E64-2085-41127235612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3D022F0-F720-412F-823E-FF85B7F74288}" type="slidenum">
              <a:rPr lang="en-US" altLang="pt-BR" smtClean="0"/>
              <a:pPr/>
              <a:t>39</a:t>
            </a:fld>
            <a:endParaRPr lang="en-US" altLang="pt-BR"/>
          </a:p>
        </p:txBody>
      </p:sp>
      <p:sp>
        <p:nvSpPr>
          <p:cNvPr id="86019" name="Rectangle 2">
            <a:extLst>
              <a:ext uri="{FF2B5EF4-FFF2-40B4-BE49-F238E27FC236}">
                <a16:creationId xmlns:a16="http://schemas.microsoft.com/office/drawing/2014/main" id="{7CE76CA5-ABAB-ACE8-24DD-0CD3AB688A6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86020" name="Rectangle 3">
            <a:extLst>
              <a:ext uri="{FF2B5EF4-FFF2-40B4-BE49-F238E27FC236}">
                <a16:creationId xmlns:a16="http://schemas.microsoft.com/office/drawing/2014/main" id="{16937B89-3321-F70A-386A-BB73EA0B062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Coppola</a:t>
            </a:r>
          </a:p>
          <a:p>
            <a:pPr eaLnBrk="1" hangingPunct="1"/>
            <a:endParaRPr lang="en-US" alt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>
            <a:extLst>
              <a:ext uri="{FF2B5EF4-FFF2-40B4-BE49-F238E27FC236}">
                <a16:creationId xmlns:a16="http://schemas.microsoft.com/office/drawing/2014/main" id="{1F05C243-911D-0F8F-7180-9EB4B056E29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D24099C-05E2-4718-85C5-328A5AD0E341}" type="slidenum">
              <a:rPr lang="en-US" altLang="pt-BR" smtClean="0"/>
              <a:pPr/>
              <a:t>4</a:t>
            </a:fld>
            <a:endParaRPr lang="en-US" altLang="pt-BR"/>
          </a:p>
        </p:txBody>
      </p:sp>
      <p:sp>
        <p:nvSpPr>
          <p:cNvPr id="16387" name="Rectangle 2">
            <a:extLst>
              <a:ext uri="{FF2B5EF4-FFF2-40B4-BE49-F238E27FC236}">
                <a16:creationId xmlns:a16="http://schemas.microsoft.com/office/drawing/2014/main" id="{57AE583E-317E-2DC8-0EE9-25205FDA8E6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16388" name="Rectangle 3">
            <a:extLst>
              <a:ext uri="{FF2B5EF4-FFF2-40B4-BE49-F238E27FC236}">
                <a16:creationId xmlns:a16="http://schemas.microsoft.com/office/drawing/2014/main" id="{67717BA5-E218-277F-205E-B8894BFF117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MRE</a:t>
            </a: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15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2" name="Google Shape;382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7">
            <a:extLst>
              <a:ext uri="{FF2B5EF4-FFF2-40B4-BE49-F238E27FC236}">
                <a16:creationId xmlns:a16="http://schemas.microsoft.com/office/drawing/2014/main" id="{D642D035-3D70-6057-4CBD-72A5E069B7E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696C821-952A-430A-B2AF-0E8D3CA045C9}" type="slidenum">
              <a:rPr lang="en-US" altLang="pt-BR" smtClean="0"/>
              <a:pPr/>
              <a:t>41</a:t>
            </a:fld>
            <a:endParaRPr lang="en-US" altLang="pt-BR"/>
          </a:p>
        </p:txBody>
      </p:sp>
      <p:sp>
        <p:nvSpPr>
          <p:cNvPr id="90115" name="Rectangle 2">
            <a:extLst>
              <a:ext uri="{FF2B5EF4-FFF2-40B4-BE49-F238E27FC236}">
                <a16:creationId xmlns:a16="http://schemas.microsoft.com/office/drawing/2014/main" id="{AB59B4B5-29B5-F3CC-9142-50E7765E3F6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90116" name="Rectangle 3">
            <a:extLst>
              <a:ext uri="{FF2B5EF4-FFF2-40B4-BE49-F238E27FC236}">
                <a16:creationId xmlns:a16="http://schemas.microsoft.com/office/drawing/2014/main" id="{708D1B3D-8550-4358-8F0C-A3F3AD7B02E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7yo IED – perineal blast injury (Azarow)</a:t>
            </a:r>
          </a:p>
          <a:p>
            <a:pPr eaLnBrk="1" hangingPunct="1"/>
            <a:r>
              <a:rPr lang="en-US" altLang="pt-BR"/>
              <a:t>perineal blast injury(these are about 2- months into his course: urethral injury, scrotal and rectal injury, bad perineal burn. Pt 8 years old and great hand off between 3 surgeons (I was the 2nd surgeon in the sequence) -  I have permission from the boy's dad to show these. He allowed my successor to take the final picture in followup .</a:t>
            </a: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7">
            <a:extLst>
              <a:ext uri="{FF2B5EF4-FFF2-40B4-BE49-F238E27FC236}">
                <a16:creationId xmlns:a16="http://schemas.microsoft.com/office/drawing/2014/main" id="{95D3C7F6-642C-485E-048C-85BCB5110F1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3F54E6-A21D-46A6-9121-3F50E33BFBDE}" type="slidenum">
              <a:rPr lang="en-US" altLang="pt-BR" smtClean="0"/>
              <a:pPr/>
              <a:t>42</a:t>
            </a:fld>
            <a:endParaRPr lang="en-US" altLang="pt-BR"/>
          </a:p>
        </p:txBody>
      </p:sp>
      <p:sp>
        <p:nvSpPr>
          <p:cNvPr id="92163" name="Rectangle 2">
            <a:extLst>
              <a:ext uri="{FF2B5EF4-FFF2-40B4-BE49-F238E27FC236}">
                <a16:creationId xmlns:a16="http://schemas.microsoft.com/office/drawing/2014/main" id="{D1971142-3153-B910-918E-60B6A238171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92164" name="Rectangle 3">
            <a:extLst>
              <a:ext uri="{FF2B5EF4-FFF2-40B4-BE49-F238E27FC236}">
                <a16:creationId xmlns:a16="http://schemas.microsoft.com/office/drawing/2014/main" id="{950BC6D6-32EA-C760-647C-A4A26D0539A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7yo IED – perineal blast injury (Azarow)</a:t>
            </a:r>
          </a:p>
          <a:p>
            <a:pPr eaLnBrk="1" hangingPunct="1"/>
            <a:r>
              <a:rPr lang="en-US" altLang="pt-BR"/>
              <a:t>perineal blast injury(these are about 2- months into his course: urethral injury, scrotal and rectal injury, bad perineal burn. Pt 8 years old and great hand off between 3 surgeons (I was the 2nd surgeon in the sequence) -  I have permission from the boy's dad to show these. He allowed my successor to take the final picture in followup .</a:t>
            </a:r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7">
            <a:extLst>
              <a:ext uri="{FF2B5EF4-FFF2-40B4-BE49-F238E27FC236}">
                <a16:creationId xmlns:a16="http://schemas.microsoft.com/office/drawing/2014/main" id="{EEB2AE7A-59B3-2691-1BE4-C1DDABC2458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3C90783-7DE7-491E-A5BD-626EF0C06CC0}" type="slidenum">
              <a:rPr lang="en-US" altLang="pt-BR" smtClean="0"/>
              <a:pPr/>
              <a:t>43</a:t>
            </a:fld>
            <a:endParaRPr lang="en-US" altLang="pt-BR"/>
          </a:p>
        </p:txBody>
      </p:sp>
      <p:sp>
        <p:nvSpPr>
          <p:cNvPr id="94211" name="Rectangle 2">
            <a:extLst>
              <a:ext uri="{FF2B5EF4-FFF2-40B4-BE49-F238E27FC236}">
                <a16:creationId xmlns:a16="http://schemas.microsoft.com/office/drawing/2014/main" id="{9EBD7793-3A5F-20EA-11C5-CC8A4A934AE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94212" name="Rectangle 3">
            <a:extLst>
              <a:ext uri="{FF2B5EF4-FFF2-40B4-BE49-F238E27FC236}">
                <a16:creationId xmlns:a16="http://schemas.microsoft.com/office/drawing/2014/main" id="{5699FB8D-C198-2618-89CA-6CD5554C8F3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Coppola</a:t>
            </a:r>
          </a:p>
          <a:p>
            <a:pPr eaLnBrk="1" hangingPunct="1"/>
            <a:endParaRPr lang="en-US" altLang="pt-BR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7">
            <a:extLst>
              <a:ext uri="{FF2B5EF4-FFF2-40B4-BE49-F238E27FC236}">
                <a16:creationId xmlns:a16="http://schemas.microsoft.com/office/drawing/2014/main" id="{AE3491DD-009A-7BE2-FE40-F98DA15DC34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D04015-8233-473B-B388-1E501B33CD25}" type="slidenum">
              <a:rPr lang="en-US" altLang="pt-BR" smtClean="0"/>
              <a:pPr/>
              <a:t>44</a:t>
            </a:fld>
            <a:endParaRPr lang="en-US" altLang="pt-BR"/>
          </a:p>
        </p:txBody>
      </p:sp>
      <p:sp>
        <p:nvSpPr>
          <p:cNvPr id="96259" name="Rectangle 2">
            <a:extLst>
              <a:ext uri="{FF2B5EF4-FFF2-40B4-BE49-F238E27FC236}">
                <a16:creationId xmlns:a16="http://schemas.microsoft.com/office/drawing/2014/main" id="{607948EB-BABC-4CE2-C9B9-91CBDA3FFEC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96260" name="Rectangle 3">
            <a:extLst>
              <a:ext uri="{FF2B5EF4-FFF2-40B4-BE49-F238E27FC236}">
                <a16:creationId xmlns:a16="http://schemas.microsoft.com/office/drawing/2014/main" id="{048E6DC8-8ECB-F012-FE6F-528736BE331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Coppola</a:t>
            </a:r>
          </a:p>
          <a:p>
            <a:pPr eaLnBrk="1" hangingPunct="1"/>
            <a:endParaRPr lang="en-US" altLang="pt-BR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16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9" name="Google Shape;389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17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5" name="Google Shape;395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7">
            <a:extLst>
              <a:ext uri="{FF2B5EF4-FFF2-40B4-BE49-F238E27FC236}">
                <a16:creationId xmlns:a16="http://schemas.microsoft.com/office/drawing/2014/main" id="{E26B3E45-6883-B7DD-5BB3-98D8AFBD086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4FB1D27-2DBF-42B2-A9D4-907013399BCB}" type="slidenum">
              <a:rPr lang="en-US" altLang="pt-BR" smtClean="0"/>
              <a:pPr/>
              <a:t>47</a:t>
            </a:fld>
            <a:endParaRPr lang="en-US" altLang="pt-BR"/>
          </a:p>
        </p:txBody>
      </p:sp>
      <p:sp>
        <p:nvSpPr>
          <p:cNvPr id="102403" name="Rectangle 2">
            <a:extLst>
              <a:ext uri="{FF2B5EF4-FFF2-40B4-BE49-F238E27FC236}">
                <a16:creationId xmlns:a16="http://schemas.microsoft.com/office/drawing/2014/main" id="{2BB22436-CB00-1EC4-728F-DF16AFECA55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102404" name="Rectangle 3">
            <a:extLst>
              <a:ext uri="{FF2B5EF4-FFF2-40B4-BE49-F238E27FC236}">
                <a16:creationId xmlns:a16="http://schemas.microsoft.com/office/drawing/2014/main" id="{05F7DD31-AF04-EA39-193F-76982D3289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Coppola</a:t>
            </a:r>
          </a:p>
          <a:p>
            <a:pPr eaLnBrk="1" hangingPunct="1"/>
            <a:endParaRPr lang="en-US" altLang="pt-BR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Slide Image Placeholder 1">
            <a:extLst>
              <a:ext uri="{FF2B5EF4-FFF2-40B4-BE49-F238E27FC236}">
                <a16:creationId xmlns:a16="http://schemas.microsoft.com/office/drawing/2014/main" id="{CB6DD68A-221F-5887-1FDB-65E09E6400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4451" name="Notes Placeholder 2">
            <a:extLst>
              <a:ext uri="{FF2B5EF4-FFF2-40B4-BE49-F238E27FC236}">
                <a16:creationId xmlns:a16="http://schemas.microsoft.com/office/drawing/2014/main" id="{C59AE17D-6446-12CC-7231-9D43F7BF84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104452" name="Slide Number Placeholder 3">
            <a:extLst>
              <a:ext uri="{FF2B5EF4-FFF2-40B4-BE49-F238E27FC236}">
                <a16:creationId xmlns:a16="http://schemas.microsoft.com/office/drawing/2014/main" id="{EB80ACEF-015E-60BB-8BE8-B9A00BB0C138}"/>
              </a:ext>
            </a:extLst>
          </p:cNvPr>
          <p:cNvSpPr txBox="1">
            <a:spLocks noGrp="1"/>
          </p:cNvSpPr>
          <p:nvPr/>
        </p:nvSpPr>
        <p:spPr bwMode="auto">
          <a:xfrm>
            <a:off x="3814763" y="9371013"/>
            <a:ext cx="2919412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51" tIns="48325" rIns="96651" bIns="48325" anchor="b"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EFD4725D-FC12-4C05-883A-CCD57C386E29}" type="slidenum">
              <a:rPr lang="en-US" altLang="pt-BR" sz="1200"/>
              <a:pPr algn="r" eaLnBrk="1" hangingPunct="1"/>
              <a:t>48</a:t>
            </a:fld>
            <a:endParaRPr lang="en-US" altLang="pt-BR" sz="1200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18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4" name="Google Shape;404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>
            <a:extLst>
              <a:ext uri="{FF2B5EF4-FFF2-40B4-BE49-F238E27FC236}">
                <a16:creationId xmlns:a16="http://schemas.microsoft.com/office/drawing/2014/main" id="{111DF638-485F-75F6-54CE-CA3C1207EED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1363"/>
            <a:ext cx="4927600" cy="3697287"/>
          </a:xfrm>
          <a:ln/>
        </p:spPr>
      </p:sp>
      <p:sp>
        <p:nvSpPr>
          <p:cNvPr id="18435" name="Notes Placeholder 2">
            <a:extLst>
              <a:ext uri="{FF2B5EF4-FFF2-40B4-BE49-F238E27FC236}">
                <a16:creationId xmlns:a16="http://schemas.microsoft.com/office/drawing/2014/main" id="{2A759325-ACD4-CAB0-66DF-F16CD338B4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en-US">
                <a:ea typeface="MS PGothic" panose="020B0600070205080204" pitchFamily="34" charset="-128"/>
              </a:rPr>
              <a:t>Primary, secondary, tertiary, quaternary injury</a:t>
            </a:r>
          </a:p>
          <a:p>
            <a:pPr eaLnBrk="1" hangingPunct="1">
              <a:spcBef>
                <a:spcPct val="0"/>
              </a:spcBef>
            </a:pPr>
            <a:endParaRPr lang="en-US" altLang="en-US">
              <a:ea typeface="MS PGothic" panose="020B0600070205080204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>
                <a:ea typeface="MS PGothic" panose="020B0600070205080204" pitchFamily="34" charset="-128"/>
              </a:rPr>
              <a:t>Traumatic brain injury: an overview of pathobiology with emphasis on military populations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>
                <a:ea typeface="MS PGothic" panose="020B0600070205080204" pitchFamily="34" charset="-128"/>
              </a:rPr>
              <a:t>Ibolja Cernak</a:t>
            </a:r>
            <a:r>
              <a:rPr lang="en-US" altLang="en-US" u="sng">
                <a:ea typeface="MS PGothic" panose="020B0600070205080204" pitchFamily="34" charset="-128"/>
              </a:rPr>
              <a:t>1 and Linda J Noble-Haeusslein2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u="sng" baseline="30000">
                <a:ea typeface="MS PGothic" panose="020B0600070205080204" pitchFamily="34" charset="-128"/>
              </a:rPr>
              <a:t>1</a:t>
            </a:r>
            <a:r>
              <a:rPr lang="en-US" altLang="en-US" u="sng">
                <a:ea typeface="MS PGothic" panose="020B0600070205080204" pitchFamily="34" charset="-128"/>
              </a:rPr>
              <a:t>National Security Technology Department, Johns Hopkins University Applied Physics Laboratory, Laurel, Maryland, USA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u="sng" baseline="30000">
                <a:ea typeface="MS PGothic" panose="020B0600070205080204" pitchFamily="34" charset="-128"/>
              </a:rPr>
              <a:t>2</a:t>
            </a:r>
            <a:r>
              <a:rPr lang="en-US" altLang="en-US" u="sng">
                <a:ea typeface="MS PGothic" panose="020B0600070205080204" pitchFamily="34" charset="-128"/>
              </a:rPr>
              <a:t>Department of Neurological Surgery and Department of Physical Therapy and Rehabilitation Science, University of California, San Francisco, California, USA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u="sng">
                <a:ea typeface="MS PGothic" panose="020B0600070205080204" pitchFamily="34" charset="-128"/>
              </a:rPr>
              <a:t>Correspondence: Dr I Cernak, National Security Technology Department, Johns Hopkins University, Applied Physics Laboratory, Biomedicine Burinus Area, 11100 Johns Hopkins Road, Mail Stop MP2 N108, Laurel, MD 20723, USA. E-mail: </a:t>
            </a:r>
            <a:r>
              <a:rPr lang="en-US" altLang="en-US" u="sng">
                <a:ea typeface="MS PGothic" panose="020B0600070205080204" pitchFamily="34" charset="-128"/>
                <a:hlinkClick r:id="rId3"/>
              </a:rPr>
              <a:t>ibolja.cernak@jhuapl.edu</a:t>
            </a:r>
            <a:endParaRPr lang="en-US" altLang="en-US" u="sng">
              <a:ea typeface="MS PGothic" panose="020B0600070205080204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i="1">
                <a:ea typeface="MS PGothic" panose="020B0600070205080204" pitchFamily="34" charset="-128"/>
              </a:rPr>
              <a:t>Journal of Cerebral Blood Flow &amp; Metabolism</a:t>
            </a:r>
            <a:r>
              <a:rPr lang="en-US" altLang="en-US">
                <a:ea typeface="MS PGothic" panose="020B0600070205080204" pitchFamily="34" charset="-128"/>
              </a:rPr>
              <a:t> (2010) </a:t>
            </a:r>
            <a:r>
              <a:rPr lang="en-US" altLang="en-US" b="1">
                <a:ea typeface="MS PGothic" panose="020B0600070205080204" pitchFamily="34" charset="-128"/>
              </a:rPr>
              <a:t>30,</a:t>
            </a:r>
            <a:r>
              <a:rPr lang="en-US" altLang="en-US">
                <a:ea typeface="MS PGothic" panose="020B0600070205080204" pitchFamily="34" charset="-128"/>
              </a:rPr>
              <a:t> 255–266; doi:10.1038/jcbfm.2009.203; published online 7 October 2009</a:t>
            </a:r>
          </a:p>
        </p:txBody>
      </p:sp>
      <p:sp>
        <p:nvSpPr>
          <p:cNvPr id="18436" name="Slide Number Placeholder 3">
            <a:extLst>
              <a:ext uri="{FF2B5EF4-FFF2-40B4-BE49-F238E27FC236}">
                <a16:creationId xmlns:a16="http://schemas.microsoft.com/office/drawing/2014/main" id="{B1336025-F5A2-75B8-E647-57BAD04C56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6BDE209C-7159-4955-BD32-E4DA4EB4B0CE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5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19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1" name="Google Shape;411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" name="Google Shape;417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75" y="741363"/>
            <a:ext cx="4927600" cy="36972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18" name="Google Shape;418;p20:notes"/>
          <p:cNvSpPr txBox="1">
            <a:spLocks noGrp="1"/>
          </p:cNvSpPr>
          <p:nvPr>
            <p:ph type="body" idx="1"/>
          </p:nvPr>
        </p:nvSpPr>
        <p:spPr>
          <a:xfrm>
            <a:off x="673100" y="4686300"/>
            <a:ext cx="5389562" cy="4438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2" name="Google Shape;92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en"/>
              <a:t>РЕСУСЦИТАЦІЯ: первинний огляд, повторний огляд, механізм пошкодження, діагноз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en"/>
              <a:t>ПЕРЕДОПЕРАЦІЙНИЙ ЕТАП: передача, знеболення, сім’я, згода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en"/>
              <a:t>ОПЕРАЦІЯ: анестезія, перерва, операційне втручання, процедури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en"/>
              <a:t>ПОСТ-ОПЕРАЦІЙНИЙ	ЕТАП: оцінка стану, спрямована допомога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en"/>
              <a:t>ІНТЕНСИВНА ТЕРАПІЯ: вентиляція, гіповолемія, гарячка та інфекція, неврологічна декомпенсація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en"/>
              <a:t>ПОДАЛЬШИЙ ДОГЛЯД: щоденний догляд, оцінка стану, харчування, видужання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r>
              <a:rPr lang="en"/>
              <a:t>ВИПИСКА: критерії, настанови батькам, повернення до школи, подальша діяльність</a:t>
            </a:r>
            <a:endParaRPr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Google Shape;316;g532f042ca8_0_61:notes">
            <a:extLst>
              <a:ext uri="{FF2B5EF4-FFF2-40B4-BE49-F238E27FC236}">
                <a16:creationId xmlns:a16="http://schemas.microsoft.com/office/drawing/2014/main" id="{168E13A2-F541-FCAE-A905-CDC852FDFDEC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>
              <a:gd name="T0" fmla="*/ 0 w 120000"/>
              <a:gd name="T1" fmla="*/ 0 h 120000"/>
              <a:gd name="T2" fmla="*/ 2147483646 w 120000"/>
              <a:gd name="T3" fmla="*/ 0 h 120000"/>
              <a:gd name="T4" fmla="*/ 2147483646 w 120000"/>
              <a:gd name="T5" fmla="*/ 2147483646 h 120000"/>
              <a:gd name="T6" fmla="*/ 0 w 120000"/>
              <a:gd name="T7" fmla="*/ 2147483646 h 120000"/>
              <a:gd name="T8" fmla="*/ 0 w 120000"/>
              <a:gd name="T9" fmla="*/ 0 h 12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>
            <a:round/>
          </a:ln>
        </p:spPr>
      </p:sp>
      <p:sp>
        <p:nvSpPr>
          <p:cNvPr id="112643" name="Google Shape;317;g532f042ca8_0_61:notes">
            <a:extLst>
              <a:ext uri="{FF2B5EF4-FFF2-40B4-BE49-F238E27FC236}">
                <a16:creationId xmlns:a16="http://schemas.microsoft.com/office/drawing/2014/main" id="{280900E5-2D79-8881-8AA2-CD9E22EF84E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/>
          <a:lstStyle/>
          <a:p>
            <a:pPr>
              <a:spcBef>
                <a:spcPct val="0"/>
              </a:spcBef>
            </a:pPr>
            <a:endParaRPr lang="en-US" altLang="en-US"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2950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26" name="Google Shape;426;p21:notes"/>
          <p:cNvSpPr txBox="1">
            <a:spLocks noGrp="1"/>
          </p:cNvSpPr>
          <p:nvPr>
            <p:ph type="body" idx="1"/>
          </p:nvPr>
        </p:nvSpPr>
        <p:spPr>
          <a:xfrm>
            <a:off x="673100" y="4684712"/>
            <a:ext cx="5389562" cy="4438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700" tIns="47350" rIns="94700" bIns="473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7" name="Google Shape;427;p21:notes"/>
          <p:cNvSpPr txBox="1"/>
          <p:nvPr/>
        </p:nvSpPr>
        <p:spPr>
          <a:xfrm>
            <a:off x="3811587" y="9372600"/>
            <a:ext cx="2922587" cy="492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700" tIns="47350" rIns="94700" bIns="4735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imes New Roman"/>
              <a:buNone/>
            </a:pPr>
            <a:fld id="{00000000-1234-1234-1234-123412341234}" type="slidenum">
              <a:rPr lang="en-US" sz="12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54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>
            <a:extLst>
              <a:ext uri="{FF2B5EF4-FFF2-40B4-BE49-F238E27FC236}">
                <a16:creationId xmlns:a16="http://schemas.microsoft.com/office/drawing/2014/main" id="{DD3B1EEC-EDBF-E5D0-BF6B-04983126A19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75" y="741363"/>
            <a:ext cx="4927600" cy="3697287"/>
          </a:xfrm>
          <a:ln/>
        </p:spPr>
      </p:sp>
      <p:sp>
        <p:nvSpPr>
          <p:cNvPr id="20483" name="Notes Placeholder 2">
            <a:extLst>
              <a:ext uri="{FF2B5EF4-FFF2-40B4-BE49-F238E27FC236}">
                <a16:creationId xmlns:a16="http://schemas.microsoft.com/office/drawing/2014/main" id="{1ADB585B-7A31-0ACC-A321-074B38F5CC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>
                <a:ea typeface="MS PGothic" panose="020B0600070205080204" pitchFamily="34" charset="-128"/>
              </a:rPr>
              <a:t>Idealized blast wave form: overpressure, followed by underpressure</a:t>
            </a:r>
          </a:p>
        </p:txBody>
      </p:sp>
      <p:sp>
        <p:nvSpPr>
          <p:cNvPr id="20484" name="Slide Number Placeholder 3">
            <a:extLst>
              <a:ext uri="{FF2B5EF4-FFF2-40B4-BE49-F238E27FC236}">
                <a16:creationId xmlns:a16="http://schemas.microsoft.com/office/drawing/2014/main" id="{FF0E7338-1E6F-25DA-4643-6BC18A24CD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68975D17-5042-42FD-81D4-001C7CF2362B}" type="slidenum">
              <a:rPr lang="en-US" altLang="en-US" smtClean="0">
                <a:latin typeface="Calibri" panose="020F0502020204030204" pitchFamily="34" charset="0"/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6</a:t>
            </a:fld>
            <a:endParaRPr lang="en-US" altLang="en-US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Google Shape;28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75" y="741363"/>
            <a:ext cx="4927600" cy="36972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288" name="Google Shape;288;p4:notes"/>
          <p:cNvSpPr txBox="1">
            <a:spLocks noGrp="1"/>
          </p:cNvSpPr>
          <p:nvPr>
            <p:ph type="body" idx="1"/>
          </p:nvPr>
        </p:nvSpPr>
        <p:spPr>
          <a:xfrm>
            <a:off x="673100" y="4686300"/>
            <a:ext cx="5389562" cy="4438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9" name="Google Shape;289;p4:notes"/>
          <p:cNvSpPr txBox="1"/>
          <p:nvPr/>
        </p:nvSpPr>
        <p:spPr>
          <a:xfrm>
            <a:off x="3814762" y="9371012"/>
            <a:ext cx="2919412" cy="4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25" rIns="96650" bIns="48325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5:notes"/>
          <p:cNvSpPr txBox="1">
            <a:spLocks noGrp="1"/>
          </p:cNvSpPr>
          <p:nvPr>
            <p:ph type="body" idx="1"/>
          </p:nvPr>
        </p:nvSpPr>
        <p:spPr>
          <a:xfrm>
            <a:off x="896937" y="4684712"/>
            <a:ext cx="4941887" cy="4440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325" tIns="46825" rIns="95325" bIns="468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6463" y="741363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>
            <a:extLst>
              <a:ext uri="{FF2B5EF4-FFF2-40B4-BE49-F238E27FC236}">
                <a16:creationId xmlns:a16="http://schemas.microsoft.com/office/drawing/2014/main" id="{827B6197-6DCA-B9C3-0691-87BC78A21D8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FA18112-7CB5-47FB-82ED-2AC6AD7309CB}" type="slidenum">
              <a:rPr lang="en-US" altLang="pt-BR" smtClean="0"/>
              <a:pPr/>
              <a:t>9</a:t>
            </a:fld>
            <a:endParaRPr lang="en-US" altLang="pt-BR"/>
          </a:p>
        </p:txBody>
      </p:sp>
      <p:sp>
        <p:nvSpPr>
          <p:cNvPr id="26627" name="Rectangle 2">
            <a:extLst>
              <a:ext uri="{FF2B5EF4-FFF2-40B4-BE49-F238E27FC236}">
                <a16:creationId xmlns:a16="http://schemas.microsoft.com/office/drawing/2014/main" id="{87CC5E8D-B599-B4AB-88B9-B8CA81C2F2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6463" y="741363"/>
            <a:ext cx="4927600" cy="3697287"/>
          </a:xfrm>
          <a:ln/>
        </p:spPr>
      </p:sp>
      <p:sp>
        <p:nvSpPr>
          <p:cNvPr id="26628" name="Rectangle 3">
            <a:extLst>
              <a:ext uri="{FF2B5EF4-FFF2-40B4-BE49-F238E27FC236}">
                <a16:creationId xmlns:a16="http://schemas.microsoft.com/office/drawing/2014/main" id="{410C325D-6F86-1093-4F96-3491A5EB7A6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pt-BR"/>
              <a:t>Coppola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3"/>
          <p:cNvSpPr txBox="1"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3"/>
          <p:cNvSpPr txBox="1"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  <a:defRPr/>
            </a:lvl1pPr>
            <a:lvl2pPr lvl="1" algn="ctr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None/>
              <a:defRPr/>
            </a:lvl2pPr>
            <a:lvl3pPr lvl="2" algn="ctr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None/>
              <a:defRPr/>
            </a:lvl3pPr>
            <a:lvl4pPr lvl="3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4pPr>
            <a:lvl5pPr lvl="4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3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3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3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52"/>
          <p:cNvSpPr txBox="1"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000" b="1" cap="none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52"/>
          <p:cNvSpPr txBox="1"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 sz="2000"/>
            </a:lvl1pPr>
            <a:lvl2pPr marL="914400" lvl="1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None/>
              <a:defRPr sz="1800"/>
            </a:lvl2pPr>
            <a:lvl3pPr marL="1371600" lvl="2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/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4pPr>
            <a:lvl5pPr marL="2286000" lvl="4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5pPr>
            <a:lvl6pPr marL="2743200" lvl="5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6pPr>
            <a:lvl7pPr marL="3200400" lvl="6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7pPr>
            <a:lvl8pPr marL="3657600" lvl="7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8pPr>
            <a:lvl9pPr marL="4114800" lvl="8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9pPr>
          </a:lstStyle>
          <a:p>
            <a:endParaRPr/>
          </a:p>
        </p:txBody>
      </p:sp>
      <p:sp>
        <p:nvSpPr>
          <p:cNvPr id="75" name="Google Shape;75;p52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52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52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3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53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81" name="Google Shape;81;p53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53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53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25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25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93" name="Google Shape;93;p25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25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25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9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9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29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36"/>
          <p:cNvSpPr txBox="1">
            <a:spLocks noGrp="1"/>
          </p:cNvSpPr>
          <p:nvPr>
            <p:ph type="title"/>
          </p:nvPr>
        </p:nvSpPr>
        <p:spPr>
          <a:xfrm rot="5400000">
            <a:off x="4743451" y="2381250"/>
            <a:ext cx="5486400" cy="194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36"/>
          <p:cNvSpPr txBox="1">
            <a:spLocks noGrp="1"/>
          </p:cNvSpPr>
          <p:nvPr>
            <p:ph type="body" idx="1"/>
          </p:nvPr>
        </p:nvSpPr>
        <p:spPr>
          <a:xfrm rot="5400000">
            <a:off x="781051" y="514350"/>
            <a:ext cx="5486400" cy="56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103" name="Google Shape;103;p36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36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36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37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37"/>
          <p:cNvSpPr txBox="1">
            <a:spLocks noGrp="1"/>
          </p:cNvSpPr>
          <p:nvPr>
            <p:ph type="body" idx="1"/>
          </p:nvPr>
        </p:nvSpPr>
        <p:spPr>
          <a:xfrm rot="5400000">
            <a:off x="2514600" y="152400"/>
            <a:ext cx="4114800" cy="77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109" name="Google Shape;109;p37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37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37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38"/>
          <p:cNvSpPr txBox="1"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000" b="1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38"/>
          <p:cNvSpPr>
            <a:spLocks noGrp="1"/>
          </p:cNvSpPr>
          <p:nvPr>
            <p:ph type="pic" idx="2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  <a:noFill/>
          <a:ln>
            <a:noFill/>
          </a:ln>
        </p:spPr>
      </p:sp>
      <p:sp>
        <p:nvSpPr>
          <p:cNvPr id="115" name="Google Shape;115;p38"/>
          <p:cNvSpPr txBox="1">
            <a:spLocks noGrp="1"/>
          </p:cNvSpPr>
          <p:nvPr>
            <p:ph type="body" idx="1"/>
          </p:nvPr>
        </p:nvSpPr>
        <p:spPr>
          <a:xfrm>
            <a:off x="1792288" y="5367339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Times New Roman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Times New Roman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9pPr>
          </a:lstStyle>
          <a:p>
            <a:endParaRPr/>
          </a:p>
        </p:txBody>
      </p:sp>
      <p:sp>
        <p:nvSpPr>
          <p:cNvPr id="116" name="Google Shape;116;p38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38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38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39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000" b="1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39"/>
          <p:cNvSpPr txBox="1">
            <a:spLocks noGrp="1"/>
          </p:cNvSpPr>
          <p:nvPr>
            <p:ph type="body" idx="1"/>
          </p:nvPr>
        </p:nvSpPr>
        <p:spPr>
          <a:xfrm>
            <a:off x="3575050" y="273051"/>
            <a:ext cx="5111751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  <a:defRPr sz="3200"/>
            </a:lvl1pPr>
            <a:lvl2pPr marL="914400" lvl="1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–"/>
              <a:defRPr sz="2800"/>
            </a:lvl2pPr>
            <a:lvl3pPr marL="1371600" lvl="2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/>
            </a:lvl3pPr>
            <a:lvl4pPr marL="1828800" lvl="3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/>
            </a:lvl4pPr>
            <a:lvl5pPr marL="2286000" lvl="4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5pPr>
            <a:lvl6pPr marL="2743200" lvl="5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6pPr>
            <a:lvl7pPr marL="3200400" lvl="6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7pPr>
            <a:lvl8pPr marL="3657600" lvl="7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8pPr>
            <a:lvl9pPr marL="4114800" lvl="8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9pPr>
          </a:lstStyle>
          <a:p>
            <a:endParaRPr/>
          </a:p>
        </p:txBody>
      </p:sp>
      <p:sp>
        <p:nvSpPr>
          <p:cNvPr id="122" name="Google Shape;122;p39"/>
          <p:cNvSpPr txBox="1">
            <a:spLocks noGrp="1"/>
          </p:cNvSpPr>
          <p:nvPr>
            <p:ph type="body" idx="2"/>
          </p:nvPr>
        </p:nvSpPr>
        <p:spPr>
          <a:xfrm>
            <a:off x="457201" y="1435101"/>
            <a:ext cx="3008313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Times New Roman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Times New Roman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9pPr>
          </a:lstStyle>
          <a:p>
            <a:endParaRPr/>
          </a:p>
        </p:txBody>
      </p:sp>
      <p:sp>
        <p:nvSpPr>
          <p:cNvPr id="123" name="Google Shape;123;p39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39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39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40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40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40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40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41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41"/>
          <p:cNvSpPr txBox="1"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None/>
              <a:defRPr sz="2400" b="1"/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 sz="2000" b="1"/>
            </a:lvl2pPr>
            <a:lvl3pPr marL="1371600" lvl="2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None/>
              <a:defRPr sz="1800" b="1"/>
            </a:lvl3pPr>
            <a:lvl4pPr marL="1828800" lvl="3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4pPr>
            <a:lvl5pPr marL="2286000" lvl="4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5pPr>
            <a:lvl6pPr marL="2743200" lvl="5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6pPr>
            <a:lvl7pPr marL="3200400" lvl="6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7pPr>
            <a:lvl8pPr marL="3657600" lvl="7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8pPr>
            <a:lvl9pPr marL="4114800" lvl="8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9pPr>
          </a:lstStyle>
          <a:p>
            <a:endParaRPr/>
          </a:p>
        </p:txBody>
      </p:sp>
      <p:sp>
        <p:nvSpPr>
          <p:cNvPr id="134" name="Google Shape;134;p41"/>
          <p:cNvSpPr txBox="1">
            <a:spLocks noGrp="1"/>
          </p:cNvSpPr>
          <p:nvPr>
            <p:ph type="body" idx="2"/>
          </p:nvPr>
        </p:nvSpPr>
        <p:spPr>
          <a:xfrm>
            <a:off x="457201" y="2174875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/>
            </a:lvl1pPr>
            <a:lvl2pPr marL="914400" lvl="1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•"/>
              <a:defRPr sz="1800"/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–"/>
              <a:defRPr sz="1600"/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5pPr>
            <a:lvl6pPr marL="2743200" lvl="5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6pPr>
            <a:lvl7pPr marL="3200400" lvl="6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7pPr>
            <a:lvl8pPr marL="3657600" lvl="7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8pPr>
            <a:lvl9pPr marL="4114800" lvl="8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9pPr>
          </a:lstStyle>
          <a:p>
            <a:endParaRPr/>
          </a:p>
        </p:txBody>
      </p:sp>
      <p:sp>
        <p:nvSpPr>
          <p:cNvPr id="135" name="Google Shape;135;p41"/>
          <p:cNvSpPr txBox="1">
            <a:spLocks noGrp="1"/>
          </p:cNvSpPr>
          <p:nvPr>
            <p:ph type="body" idx="3"/>
          </p:nvPr>
        </p:nvSpPr>
        <p:spPr>
          <a:xfrm>
            <a:off x="4645026" y="1535113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None/>
              <a:defRPr sz="2400" b="1"/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 sz="2000" b="1"/>
            </a:lvl2pPr>
            <a:lvl3pPr marL="1371600" lvl="2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None/>
              <a:defRPr sz="1800" b="1"/>
            </a:lvl3pPr>
            <a:lvl4pPr marL="1828800" lvl="3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4pPr>
            <a:lvl5pPr marL="2286000" lvl="4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5pPr>
            <a:lvl6pPr marL="2743200" lvl="5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6pPr>
            <a:lvl7pPr marL="3200400" lvl="6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7pPr>
            <a:lvl8pPr marL="3657600" lvl="7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8pPr>
            <a:lvl9pPr marL="4114800" lvl="8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9pPr>
          </a:lstStyle>
          <a:p>
            <a:endParaRPr/>
          </a:p>
        </p:txBody>
      </p:sp>
      <p:sp>
        <p:nvSpPr>
          <p:cNvPr id="136" name="Google Shape;136;p41"/>
          <p:cNvSpPr txBox="1">
            <a:spLocks noGrp="1"/>
          </p:cNvSpPr>
          <p:nvPr>
            <p:ph type="body" idx="4"/>
          </p:nvPr>
        </p:nvSpPr>
        <p:spPr>
          <a:xfrm>
            <a:off x="4645026" y="2174875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/>
            </a:lvl1pPr>
            <a:lvl2pPr marL="914400" lvl="1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•"/>
              <a:defRPr sz="1800"/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–"/>
              <a:defRPr sz="1600"/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5pPr>
            <a:lvl6pPr marL="2743200" lvl="5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6pPr>
            <a:lvl7pPr marL="3200400" lvl="6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7pPr>
            <a:lvl8pPr marL="3657600" lvl="7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8pPr>
            <a:lvl9pPr marL="4114800" lvl="8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9pPr>
          </a:lstStyle>
          <a:p>
            <a:endParaRPr/>
          </a:p>
        </p:txBody>
      </p:sp>
      <p:sp>
        <p:nvSpPr>
          <p:cNvPr id="137" name="Google Shape;137;p41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41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41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45"/>
          <p:cNvSpPr txBox="1">
            <a:spLocks noGrp="1"/>
          </p:cNvSpPr>
          <p:nvPr>
            <p:ph type="title"/>
          </p:nvPr>
        </p:nvSpPr>
        <p:spPr>
          <a:xfrm rot="5400000">
            <a:off x="4743451" y="2381250"/>
            <a:ext cx="5486400" cy="194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45"/>
          <p:cNvSpPr txBox="1">
            <a:spLocks noGrp="1"/>
          </p:cNvSpPr>
          <p:nvPr>
            <p:ph type="body" idx="1"/>
          </p:nvPr>
        </p:nvSpPr>
        <p:spPr>
          <a:xfrm rot="5400000">
            <a:off x="781051" y="514350"/>
            <a:ext cx="5486400" cy="56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24" name="Google Shape;24;p45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45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45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2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42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38100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•"/>
              <a:defRPr sz="2800"/>
            </a:lvl1pPr>
            <a:lvl2pPr marL="914400" lvl="1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–"/>
              <a:defRPr sz="2400"/>
            </a:lvl2pPr>
            <a:lvl3pPr marL="1371600" lvl="2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•"/>
              <a:defRPr sz="2000"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–"/>
              <a:defRPr sz="1800"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9pPr>
          </a:lstStyle>
          <a:p>
            <a:endParaRPr/>
          </a:p>
        </p:txBody>
      </p:sp>
      <p:sp>
        <p:nvSpPr>
          <p:cNvPr id="143" name="Google Shape;143;p42"/>
          <p:cNvSpPr txBox="1">
            <a:spLocks noGrp="1"/>
          </p:cNvSpPr>
          <p:nvPr>
            <p:ph type="body" idx="2"/>
          </p:nvPr>
        </p:nvSpPr>
        <p:spPr>
          <a:xfrm>
            <a:off x="4648200" y="1981200"/>
            <a:ext cx="38100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•"/>
              <a:defRPr sz="2800"/>
            </a:lvl1pPr>
            <a:lvl2pPr marL="914400" lvl="1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–"/>
              <a:defRPr sz="2400"/>
            </a:lvl2pPr>
            <a:lvl3pPr marL="1371600" lvl="2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•"/>
              <a:defRPr sz="2000"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–"/>
              <a:defRPr sz="1800"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9pPr>
          </a:lstStyle>
          <a:p>
            <a:endParaRPr/>
          </a:p>
        </p:txBody>
      </p:sp>
      <p:sp>
        <p:nvSpPr>
          <p:cNvPr id="144" name="Google Shape;144;p42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42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42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p43"/>
          <p:cNvSpPr txBox="1"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000" b="1" cap="none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43"/>
          <p:cNvSpPr txBox="1"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 sz="2000"/>
            </a:lvl1pPr>
            <a:lvl2pPr marL="914400" lvl="1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None/>
              <a:defRPr sz="1800"/>
            </a:lvl2pPr>
            <a:lvl3pPr marL="1371600" lvl="2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/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4pPr>
            <a:lvl5pPr marL="2286000" lvl="4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5pPr>
            <a:lvl6pPr marL="2743200" lvl="5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6pPr>
            <a:lvl7pPr marL="3200400" lvl="6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7pPr>
            <a:lvl8pPr marL="3657600" lvl="7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8pPr>
            <a:lvl9pPr marL="4114800" lvl="8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9pPr>
          </a:lstStyle>
          <a:p>
            <a:endParaRPr/>
          </a:p>
        </p:txBody>
      </p:sp>
      <p:sp>
        <p:nvSpPr>
          <p:cNvPr id="150" name="Google Shape;150;p43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43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43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44"/>
          <p:cNvSpPr txBox="1"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p44"/>
          <p:cNvSpPr txBox="1"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  <a:defRPr/>
            </a:lvl1pPr>
            <a:lvl2pPr lvl="1" algn="ctr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None/>
              <a:defRPr/>
            </a:lvl2pPr>
            <a:lvl3pPr lvl="2" algn="ctr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None/>
              <a:defRPr/>
            </a:lvl3pPr>
            <a:lvl4pPr lvl="3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4pPr>
            <a:lvl5pPr lvl="4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44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44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44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28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28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28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2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844C9DFA-7712-0A9A-71D2-10265FFADADC}"/>
              </a:ext>
            </a:extLst>
          </p:cNvPr>
          <p:cNvSpPr txBox="1"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A19408-4BE9-4054-944F-07E8F5FD4FD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23390683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er Slides with Phone Mockups">
  <p:cSld name="Inner Slides with Phone Mockups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/>
          <p:nvPr/>
        </p:nvSpPr>
        <p:spPr>
          <a:xfrm>
            <a:off x="7048500" y="0"/>
            <a:ext cx="2095500" cy="6858000"/>
          </a:xfrm>
          <a:prstGeom prst="rect">
            <a:avLst/>
          </a:prstGeom>
          <a:gradFill>
            <a:gsLst>
              <a:gs pos="0">
                <a:srgbClr val="4C76C7"/>
              </a:gs>
              <a:gs pos="100000">
                <a:srgbClr val="7CD0C7"/>
              </a:gs>
            </a:gsLst>
            <a:lin ang="2700006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17;p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92525" y="6116040"/>
            <a:ext cx="932475" cy="354333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7525500" y="6217633"/>
            <a:ext cx="1389600" cy="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r>
              <a:rPr lang="en-US"/>
              <a:t> Investors Deck | </a:t>
            </a:r>
            <a:fld id="{00000000-1234-1234-1234-123412341234}" type="slidenum">
              <a:rPr lang="en" smtClean="0"/>
              <a:pPr/>
              <a:t>‹#›</a:t>
            </a:fld>
            <a:endParaRPr/>
          </a:p>
        </p:txBody>
      </p:sp>
      <p:pic>
        <p:nvPicPr>
          <p:cNvPr id="19" name="Google Shape;19;p3"/>
          <p:cNvPicPr preferRelativeResize="0"/>
          <p:nvPr/>
        </p:nvPicPr>
        <p:blipFill rotWithShape="1">
          <a:blip r:embed="rId3">
            <a:alphaModFix amt="36000"/>
          </a:blip>
          <a:srcRect/>
          <a:stretch/>
        </p:blipFill>
        <p:spPr>
          <a:xfrm>
            <a:off x="7880151" y="3769568"/>
            <a:ext cx="1264000" cy="1685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20;p3"/>
          <p:cNvPicPr preferRelativeResize="0"/>
          <p:nvPr/>
        </p:nvPicPr>
        <p:blipFill rotWithShape="1">
          <a:blip r:embed="rId4">
            <a:alphaModFix amt="23000"/>
          </a:blip>
          <a:srcRect/>
          <a:stretch/>
        </p:blipFill>
        <p:spPr>
          <a:xfrm rot="5400000">
            <a:off x="7111050" y="5918"/>
            <a:ext cx="773800" cy="11606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86810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 1">
  <p:cSld name="Title and two columns 2 1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7;p7">
            <a:extLst>
              <a:ext uri="{FF2B5EF4-FFF2-40B4-BE49-F238E27FC236}">
                <a16:creationId xmlns:a16="http://schemas.microsoft.com/office/drawing/2014/main" id="{93115865-A523-C6AE-1FE9-56F6DD673B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2700"/>
            <a:ext cx="9144000" cy="6832600"/>
          </a:xfrm>
          <a:prstGeom prst="rect">
            <a:avLst/>
          </a:prstGeom>
          <a:gradFill rotWithShape="0">
            <a:gsLst>
              <a:gs pos="0">
                <a:srgbClr val="4C76C7"/>
              </a:gs>
              <a:gs pos="100000">
                <a:srgbClr val="7CD0C7"/>
              </a:gs>
            </a:gsLst>
            <a:lin ang="2700000"/>
          </a:gradFill>
          <a:ln w="9525">
            <a:solidFill>
              <a:schemeClr val="tx2"/>
            </a:solidFill>
            <a:round/>
            <a:headEnd type="none" w="sm" len="sm"/>
            <a:tailEnd type="none" w="sm" len="sm"/>
          </a:ln>
        </p:spPr>
        <p:txBody>
          <a:bodyPr lIns="91425" tIns="91425" rIns="91425" bIns="91425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/>
          </a:p>
        </p:txBody>
      </p:sp>
      <p:pic>
        <p:nvPicPr>
          <p:cNvPr id="3" name="Google Shape;28;p7">
            <a:extLst>
              <a:ext uri="{FF2B5EF4-FFF2-40B4-BE49-F238E27FC236}">
                <a16:creationId xmlns:a16="http://schemas.microsoft.com/office/drawing/2014/main" id="{4FA912C9-C47B-191F-0319-0138329A720B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3" y="6116638"/>
            <a:ext cx="933450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oogle Shape;29;p7">
            <a:extLst>
              <a:ext uri="{FF2B5EF4-FFF2-40B4-BE49-F238E27FC236}">
                <a16:creationId xmlns:a16="http://schemas.microsoft.com/office/drawing/2014/main" id="{030B2D72-F8D8-8466-7771-ED1E3F871647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0" b="782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Google Shape;30;p7">
            <a:extLst>
              <a:ext uri="{FF2B5EF4-FFF2-40B4-BE49-F238E27FC236}">
                <a16:creationId xmlns:a16="http://schemas.microsoft.com/office/drawing/2014/main" id="{5B139831-A1F1-5A1E-CAFB-EF67E8F520E3}"/>
              </a:ext>
            </a:extLst>
          </p:cNvPr>
          <p:cNvSpPr txBox="1">
            <a:spLocks noGrp="1"/>
          </p:cNvSpPr>
          <p:nvPr>
            <p:ph type="sldNum" idx="10"/>
          </p:nvPr>
        </p:nvSpPr>
        <p:spPr>
          <a:xfrm>
            <a:off x="7524750" y="6218238"/>
            <a:ext cx="1390650" cy="469900"/>
          </a:xfrm>
        </p:spPr>
        <p:txBody>
          <a:bodyPr spcFirstLastPara="1" lIns="91425" tIns="91425" rIns="91425" bIns="91425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9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lvl="1" rtl="0">
              <a:buNone/>
              <a:defRPr sz="9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lvl="2" rtl="0">
              <a:buNone/>
              <a:defRPr sz="9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lvl="3" rtl="0">
              <a:buNone/>
              <a:defRPr sz="9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lvl="4" rtl="0">
              <a:buNone/>
              <a:defRPr sz="9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lvl="5" rtl="0">
              <a:buNone/>
              <a:defRPr sz="9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lvl="6" rtl="0">
              <a:buNone/>
              <a:defRPr sz="9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lvl="7" rtl="0">
              <a:buNone/>
              <a:defRPr sz="9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lvl="8" rtl="0">
              <a:buNone/>
              <a:defRPr sz="900">
                <a:solidFill>
                  <a:srgbClr val="FFFFFF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pPr>
              <a:defRPr/>
            </a:pPr>
            <a:r>
              <a:rPr lang="en-US"/>
              <a:t> Investors Deck | </a:t>
            </a:r>
            <a:fld id="{384078D8-4CD3-4D6D-8E99-5F4037838C6F}" type="slidenum">
              <a:rPr lang="en" smtClean="0"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68041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8A78DEF-3353-771B-4296-E82E951C242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FD2C0D50-DF53-C702-1184-E82321B217E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26095406-A039-4171-AB97-6AC8B609E72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A70D56-829A-D446-9E95-99F3D3D7AD55}" type="slidenum">
              <a:rPr lang="en-US" altLang="pt-BR"/>
              <a:pPr>
                <a:defRPr/>
              </a:pPr>
              <a:t>‹#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769988459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33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33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33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3B16501-C25F-CB97-CF35-1D1EF5A87C2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4A3AD46F-E5BB-253C-DA3E-79CEE926503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FD96EC8A-5966-2155-8B30-8CF4BA97C16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DCE580-E989-4AD9-B21F-E0131CA29D7A}" type="slidenum">
              <a:rPr lang="en-US" altLang="pt-BR"/>
              <a:pPr>
                <a:defRPr/>
              </a:pPr>
              <a:t>‹#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11178749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46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46"/>
          <p:cNvSpPr txBox="1">
            <a:spLocks noGrp="1"/>
          </p:cNvSpPr>
          <p:nvPr>
            <p:ph type="body" idx="1"/>
          </p:nvPr>
        </p:nvSpPr>
        <p:spPr>
          <a:xfrm rot="5400000">
            <a:off x="2514600" y="152400"/>
            <a:ext cx="4114800" cy="77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30" name="Google Shape;30;p46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46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46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 Slide" type="tx">
  <p:cSld name="TITLE_AND_BODY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35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35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186" name="Google Shape;186;p35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54"/>
          <p:cNvSpPr txBox="1">
            <a:spLocks noGrp="1"/>
          </p:cNvSpPr>
          <p:nvPr>
            <p:ph type="title"/>
          </p:nvPr>
        </p:nvSpPr>
        <p:spPr>
          <a:xfrm rot="5400000">
            <a:off x="4743451" y="2381250"/>
            <a:ext cx="5486400" cy="194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54"/>
          <p:cNvSpPr txBox="1">
            <a:spLocks noGrp="1"/>
          </p:cNvSpPr>
          <p:nvPr>
            <p:ph type="body" idx="1"/>
          </p:nvPr>
        </p:nvSpPr>
        <p:spPr>
          <a:xfrm rot="5400000">
            <a:off x="781051" y="514350"/>
            <a:ext cx="5486400" cy="56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196" name="Google Shape;196;p54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" name="Google Shape;197;p54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" name="Google Shape;198;p54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55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" name="Google Shape;201;p55"/>
          <p:cNvSpPr txBox="1">
            <a:spLocks noGrp="1"/>
          </p:cNvSpPr>
          <p:nvPr>
            <p:ph type="body" idx="1"/>
          </p:nvPr>
        </p:nvSpPr>
        <p:spPr>
          <a:xfrm rot="5400000">
            <a:off x="2514600" y="152400"/>
            <a:ext cx="4114800" cy="77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202" name="Google Shape;202;p55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" name="Google Shape;203;p55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55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56"/>
          <p:cNvSpPr txBox="1"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000" b="1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56"/>
          <p:cNvSpPr>
            <a:spLocks noGrp="1"/>
          </p:cNvSpPr>
          <p:nvPr>
            <p:ph type="pic" idx="2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  <a:noFill/>
          <a:ln>
            <a:noFill/>
          </a:ln>
        </p:spPr>
      </p:sp>
      <p:sp>
        <p:nvSpPr>
          <p:cNvPr id="208" name="Google Shape;208;p56"/>
          <p:cNvSpPr txBox="1">
            <a:spLocks noGrp="1"/>
          </p:cNvSpPr>
          <p:nvPr>
            <p:ph type="body" idx="1"/>
          </p:nvPr>
        </p:nvSpPr>
        <p:spPr>
          <a:xfrm>
            <a:off x="1792288" y="5367339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Times New Roman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Times New Roman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9pPr>
          </a:lstStyle>
          <a:p>
            <a:endParaRPr/>
          </a:p>
        </p:txBody>
      </p:sp>
      <p:sp>
        <p:nvSpPr>
          <p:cNvPr id="209" name="Google Shape;209;p56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" name="Google Shape;210;p56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56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57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000" b="1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" name="Google Shape;214;p57"/>
          <p:cNvSpPr txBox="1">
            <a:spLocks noGrp="1"/>
          </p:cNvSpPr>
          <p:nvPr>
            <p:ph type="body" idx="1"/>
          </p:nvPr>
        </p:nvSpPr>
        <p:spPr>
          <a:xfrm>
            <a:off x="3575050" y="273051"/>
            <a:ext cx="5111751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  <a:defRPr sz="3200"/>
            </a:lvl1pPr>
            <a:lvl2pPr marL="914400" lvl="1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–"/>
              <a:defRPr sz="2800"/>
            </a:lvl2pPr>
            <a:lvl3pPr marL="1371600" lvl="2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/>
            </a:lvl3pPr>
            <a:lvl4pPr marL="1828800" lvl="3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/>
            </a:lvl4pPr>
            <a:lvl5pPr marL="2286000" lvl="4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5pPr>
            <a:lvl6pPr marL="2743200" lvl="5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6pPr>
            <a:lvl7pPr marL="3200400" lvl="6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7pPr>
            <a:lvl8pPr marL="3657600" lvl="7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8pPr>
            <a:lvl9pPr marL="4114800" lvl="8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9pPr>
          </a:lstStyle>
          <a:p>
            <a:endParaRPr/>
          </a:p>
        </p:txBody>
      </p:sp>
      <p:sp>
        <p:nvSpPr>
          <p:cNvPr id="215" name="Google Shape;215;p57"/>
          <p:cNvSpPr txBox="1">
            <a:spLocks noGrp="1"/>
          </p:cNvSpPr>
          <p:nvPr>
            <p:ph type="body" idx="2"/>
          </p:nvPr>
        </p:nvSpPr>
        <p:spPr>
          <a:xfrm>
            <a:off x="457201" y="1435101"/>
            <a:ext cx="3008313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Times New Roman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Times New Roman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9pPr>
          </a:lstStyle>
          <a:p>
            <a:endParaRPr/>
          </a:p>
        </p:txBody>
      </p:sp>
      <p:sp>
        <p:nvSpPr>
          <p:cNvPr id="216" name="Google Shape;216;p57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" name="Google Shape;217;p57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" name="Google Shape;218;p57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32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" name="Google Shape;221;p32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" name="Google Shape;222;p32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Google Shape;224;p58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5" name="Google Shape;225;p58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6" name="Google Shape;226;p58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7" name="Google Shape;227;p58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59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0" name="Google Shape;230;p59"/>
          <p:cNvSpPr txBox="1"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None/>
              <a:defRPr sz="2400" b="1"/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 sz="2000" b="1"/>
            </a:lvl2pPr>
            <a:lvl3pPr marL="1371600" lvl="2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None/>
              <a:defRPr sz="1800" b="1"/>
            </a:lvl3pPr>
            <a:lvl4pPr marL="1828800" lvl="3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4pPr>
            <a:lvl5pPr marL="2286000" lvl="4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5pPr>
            <a:lvl6pPr marL="2743200" lvl="5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6pPr>
            <a:lvl7pPr marL="3200400" lvl="6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7pPr>
            <a:lvl8pPr marL="3657600" lvl="7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8pPr>
            <a:lvl9pPr marL="4114800" lvl="8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9pPr>
          </a:lstStyle>
          <a:p>
            <a:endParaRPr/>
          </a:p>
        </p:txBody>
      </p:sp>
      <p:sp>
        <p:nvSpPr>
          <p:cNvPr id="231" name="Google Shape;231;p59"/>
          <p:cNvSpPr txBox="1">
            <a:spLocks noGrp="1"/>
          </p:cNvSpPr>
          <p:nvPr>
            <p:ph type="body" idx="2"/>
          </p:nvPr>
        </p:nvSpPr>
        <p:spPr>
          <a:xfrm>
            <a:off x="457201" y="2174875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/>
            </a:lvl1pPr>
            <a:lvl2pPr marL="914400" lvl="1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•"/>
              <a:defRPr sz="1800"/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–"/>
              <a:defRPr sz="1600"/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5pPr>
            <a:lvl6pPr marL="2743200" lvl="5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6pPr>
            <a:lvl7pPr marL="3200400" lvl="6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7pPr>
            <a:lvl8pPr marL="3657600" lvl="7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8pPr>
            <a:lvl9pPr marL="4114800" lvl="8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9pPr>
          </a:lstStyle>
          <a:p>
            <a:endParaRPr/>
          </a:p>
        </p:txBody>
      </p:sp>
      <p:sp>
        <p:nvSpPr>
          <p:cNvPr id="232" name="Google Shape;232;p59"/>
          <p:cNvSpPr txBox="1">
            <a:spLocks noGrp="1"/>
          </p:cNvSpPr>
          <p:nvPr>
            <p:ph type="body" idx="3"/>
          </p:nvPr>
        </p:nvSpPr>
        <p:spPr>
          <a:xfrm>
            <a:off x="4645026" y="1535113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None/>
              <a:defRPr sz="2400" b="1"/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 sz="2000" b="1"/>
            </a:lvl2pPr>
            <a:lvl3pPr marL="1371600" lvl="2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None/>
              <a:defRPr sz="1800" b="1"/>
            </a:lvl3pPr>
            <a:lvl4pPr marL="1828800" lvl="3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4pPr>
            <a:lvl5pPr marL="2286000" lvl="4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5pPr>
            <a:lvl6pPr marL="2743200" lvl="5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6pPr>
            <a:lvl7pPr marL="3200400" lvl="6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7pPr>
            <a:lvl8pPr marL="3657600" lvl="7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8pPr>
            <a:lvl9pPr marL="4114800" lvl="8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9pPr>
          </a:lstStyle>
          <a:p>
            <a:endParaRPr/>
          </a:p>
        </p:txBody>
      </p:sp>
      <p:sp>
        <p:nvSpPr>
          <p:cNvPr id="233" name="Google Shape;233;p59"/>
          <p:cNvSpPr txBox="1">
            <a:spLocks noGrp="1"/>
          </p:cNvSpPr>
          <p:nvPr>
            <p:ph type="body" idx="4"/>
          </p:nvPr>
        </p:nvSpPr>
        <p:spPr>
          <a:xfrm>
            <a:off x="4645026" y="2174875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/>
            </a:lvl1pPr>
            <a:lvl2pPr marL="914400" lvl="1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•"/>
              <a:defRPr sz="1800"/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–"/>
              <a:defRPr sz="1600"/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5pPr>
            <a:lvl6pPr marL="2743200" lvl="5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6pPr>
            <a:lvl7pPr marL="3200400" lvl="6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7pPr>
            <a:lvl8pPr marL="3657600" lvl="7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8pPr>
            <a:lvl9pPr marL="4114800" lvl="8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9pPr>
          </a:lstStyle>
          <a:p>
            <a:endParaRPr/>
          </a:p>
        </p:txBody>
      </p:sp>
      <p:sp>
        <p:nvSpPr>
          <p:cNvPr id="234" name="Google Shape;234;p59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5" name="Google Shape;235;p59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59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p60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60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38100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•"/>
              <a:defRPr sz="2800"/>
            </a:lvl1pPr>
            <a:lvl2pPr marL="914400" lvl="1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–"/>
              <a:defRPr sz="2400"/>
            </a:lvl2pPr>
            <a:lvl3pPr marL="1371600" lvl="2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•"/>
              <a:defRPr sz="2000"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–"/>
              <a:defRPr sz="1800"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9pPr>
          </a:lstStyle>
          <a:p>
            <a:endParaRPr/>
          </a:p>
        </p:txBody>
      </p:sp>
      <p:sp>
        <p:nvSpPr>
          <p:cNvPr id="240" name="Google Shape;240;p60"/>
          <p:cNvSpPr txBox="1">
            <a:spLocks noGrp="1"/>
          </p:cNvSpPr>
          <p:nvPr>
            <p:ph type="body" idx="2"/>
          </p:nvPr>
        </p:nvSpPr>
        <p:spPr>
          <a:xfrm>
            <a:off x="4648200" y="1981200"/>
            <a:ext cx="38100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•"/>
              <a:defRPr sz="2800"/>
            </a:lvl1pPr>
            <a:lvl2pPr marL="914400" lvl="1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–"/>
              <a:defRPr sz="2400"/>
            </a:lvl2pPr>
            <a:lvl3pPr marL="1371600" lvl="2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•"/>
              <a:defRPr sz="2000"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–"/>
              <a:defRPr sz="1800"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9pPr>
          </a:lstStyle>
          <a:p>
            <a:endParaRPr/>
          </a:p>
        </p:txBody>
      </p:sp>
      <p:sp>
        <p:nvSpPr>
          <p:cNvPr id="241" name="Google Shape;241;p60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" name="Google Shape;242;p60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" name="Google Shape;243;p60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61"/>
          <p:cNvSpPr txBox="1"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000" b="1" cap="none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61"/>
          <p:cNvSpPr txBox="1"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 sz="2000"/>
            </a:lvl1pPr>
            <a:lvl2pPr marL="914400" lvl="1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None/>
              <a:defRPr sz="1800"/>
            </a:lvl2pPr>
            <a:lvl3pPr marL="1371600" lvl="2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/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4pPr>
            <a:lvl5pPr marL="2286000" lvl="4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5pPr>
            <a:lvl6pPr marL="2743200" lvl="5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6pPr>
            <a:lvl7pPr marL="3200400" lvl="6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7pPr>
            <a:lvl8pPr marL="3657600" lvl="7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8pPr>
            <a:lvl9pPr marL="4114800" lvl="8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9pPr>
          </a:lstStyle>
          <a:p>
            <a:endParaRPr/>
          </a:p>
        </p:txBody>
      </p:sp>
      <p:sp>
        <p:nvSpPr>
          <p:cNvPr id="247" name="Google Shape;247;p61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8" name="Google Shape;248;p61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9" name="Google Shape;249;p61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47"/>
          <p:cNvSpPr txBox="1"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000" b="1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47"/>
          <p:cNvSpPr>
            <a:spLocks noGrp="1"/>
          </p:cNvSpPr>
          <p:nvPr>
            <p:ph type="pic" idx="2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  <a:noFill/>
          <a:ln>
            <a:noFill/>
          </a:ln>
        </p:spPr>
      </p:sp>
      <p:sp>
        <p:nvSpPr>
          <p:cNvPr id="36" name="Google Shape;36;p47"/>
          <p:cNvSpPr txBox="1">
            <a:spLocks noGrp="1"/>
          </p:cNvSpPr>
          <p:nvPr>
            <p:ph type="body" idx="1"/>
          </p:nvPr>
        </p:nvSpPr>
        <p:spPr>
          <a:xfrm>
            <a:off x="1792288" y="5367339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Times New Roman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Times New Roman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9pPr>
          </a:lstStyle>
          <a:p>
            <a:endParaRPr/>
          </a:p>
        </p:txBody>
      </p:sp>
      <p:sp>
        <p:nvSpPr>
          <p:cNvPr id="37" name="Google Shape;37;p47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47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47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62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" name="Google Shape;252;p62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9pPr>
          </a:lstStyle>
          <a:p>
            <a:endParaRPr/>
          </a:p>
        </p:txBody>
      </p:sp>
      <p:sp>
        <p:nvSpPr>
          <p:cNvPr id="253" name="Google Shape;253;p62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" name="Google Shape;254;p62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" name="Google Shape;255;p62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63"/>
          <p:cNvSpPr txBox="1"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p63"/>
          <p:cNvSpPr txBox="1"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  <a:defRPr/>
            </a:lvl1pPr>
            <a:lvl2pPr lvl="1" algn="ctr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None/>
              <a:defRPr/>
            </a:lvl2pPr>
            <a:lvl3pPr lvl="2" algn="ctr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None/>
              <a:defRPr/>
            </a:lvl3pPr>
            <a:lvl4pPr lvl="3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4pPr>
            <a:lvl5pPr lvl="4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/>
            </a:lvl9pPr>
          </a:lstStyle>
          <a:p>
            <a:endParaRPr/>
          </a:p>
        </p:txBody>
      </p:sp>
      <p:sp>
        <p:nvSpPr>
          <p:cNvPr id="259" name="Google Shape;259;p63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" name="Google Shape;260;p63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" name="Google Shape;261;p63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48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000" b="1"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48"/>
          <p:cNvSpPr txBox="1">
            <a:spLocks noGrp="1"/>
          </p:cNvSpPr>
          <p:nvPr>
            <p:ph type="body" idx="1"/>
          </p:nvPr>
        </p:nvSpPr>
        <p:spPr>
          <a:xfrm>
            <a:off x="3575050" y="273051"/>
            <a:ext cx="5111751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  <a:defRPr sz="3200"/>
            </a:lvl1pPr>
            <a:lvl2pPr marL="914400" lvl="1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–"/>
              <a:defRPr sz="2800"/>
            </a:lvl2pPr>
            <a:lvl3pPr marL="1371600" lvl="2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/>
            </a:lvl3pPr>
            <a:lvl4pPr marL="1828800" lvl="3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/>
            </a:lvl4pPr>
            <a:lvl5pPr marL="2286000" lvl="4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5pPr>
            <a:lvl6pPr marL="2743200" lvl="5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6pPr>
            <a:lvl7pPr marL="3200400" lvl="6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7pPr>
            <a:lvl8pPr marL="3657600" lvl="7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8pPr>
            <a:lvl9pPr marL="4114800" lvl="8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/>
            </a:lvl9pPr>
          </a:lstStyle>
          <a:p>
            <a:endParaRPr/>
          </a:p>
        </p:txBody>
      </p:sp>
      <p:sp>
        <p:nvSpPr>
          <p:cNvPr id="43" name="Google Shape;43;p48"/>
          <p:cNvSpPr txBox="1">
            <a:spLocks noGrp="1"/>
          </p:cNvSpPr>
          <p:nvPr>
            <p:ph type="body" idx="2"/>
          </p:nvPr>
        </p:nvSpPr>
        <p:spPr>
          <a:xfrm>
            <a:off x="457201" y="1435101"/>
            <a:ext cx="3008313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/>
            </a:lvl1pPr>
            <a:lvl2pPr marL="914400" lvl="1" indent="-22860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Times New Roman"/>
              <a:buNone/>
              <a:defRPr sz="1200"/>
            </a:lvl2pPr>
            <a:lvl3pPr marL="1371600" lvl="2" indent="-228600" algn="l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Times New Roman"/>
              <a:buNone/>
              <a:defRPr sz="1000"/>
            </a:lvl3pPr>
            <a:lvl4pPr marL="1828800" lvl="3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4pPr>
            <a:lvl5pPr marL="2286000" lvl="4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5pPr>
            <a:lvl6pPr marL="2743200" lvl="5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6pPr>
            <a:lvl7pPr marL="3200400" lvl="6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7pPr>
            <a:lvl8pPr marL="3657600" lvl="7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8pPr>
            <a:lvl9pPr marL="4114800" lvl="8" indent="-22860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Times New Roman"/>
              <a:buNone/>
              <a:defRPr sz="900"/>
            </a:lvl9pPr>
          </a:lstStyle>
          <a:p>
            <a:endParaRPr/>
          </a:p>
        </p:txBody>
      </p:sp>
      <p:sp>
        <p:nvSpPr>
          <p:cNvPr id="44" name="Google Shape;44;p48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48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48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27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7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7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9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49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49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49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50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50"/>
          <p:cNvSpPr txBox="1"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None/>
              <a:defRPr sz="2400" b="1"/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 sz="2000" b="1"/>
            </a:lvl2pPr>
            <a:lvl3pPr marL="1371600" lvl="2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None/>
              <a:defRPr sz="1800" b="1"/>
            </a:lvl3pPr>
            <a:lvl4pPr marL="1828800" lvl="3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4pPr>
            <a:lvl5pPr marL="2286000" lvl="4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5pPr>
            <a:lvl6pPr marL="2743200" lvl="5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6pPr>
            <a:lvl7pPr marL="3200400" lvl="6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7pPr>
            <a:lvl8pPr marL="3657600" lvl="7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8pPr>
            <a:lvl9pPr marL="4114800" lvl="8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9pPr>
          </a:lstStyle>
          <a:p>
            <a:endParaRPr/>
          </a:p>
        </p:txBody>
      </p:sp>
      <p:sp>
        <p:nvSpPr>
          <p:cNvPr id="59" name="Google Shape;59;p50"/>
          <p:cNvSpPr txBox="1">
            <a:spLocks noGrp="1"/>
          </p:cNvSpPr>
          <p:nvPr>
            <p:ph type="body" idx="2"/>
          </p:nvPr>
        </p:nvSpPr>
        <p:spPr>
          <a:xfrm>
            <a:off x="457201" y="2174875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/>
            </a:lvl1pPr>
            <a:lvl2pPr marL="914400" lvl="1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•"/>
              <a:defRPr sz="1800"/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–"/>
              <a:defRPr sz="1600"/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5pPr>
            <a:lvl6pPr marL="2743200" lvl="5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6pPr>
            <a:lvl7pPr marL="3200400" lvl="6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7pPr>
            <a:lvl8pPr marL="3657600" lvl="7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8pPr>
            <a:lvl9pPr marL="4114800" lvl="8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9pPr>
          </a:lstStyle>
          <a:p>
            <a:endParaRPr/>
          </a:p>
        </p:txBody>
      </p:sp>
      <p:sp>
        <p:nvSpPr>
          <p:cNvPr id="60" name="Google Shape;60;p50"/>
          <p:cNvSpPr txBox="1">
            <a:spLocks noGrp="1"/>
          </p:cNvSpPr>
          <p:nvPr>
            <p:ph type="body" idx="3"/>
          </p:nvPr>
        </p:nvSpPr>
        <p:spPr>
          <a:xfrm>
            <a:off x="4645026" y="1535113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None/>
              <a:defRPr sz="2400" b="1"/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None/>
              <a:defRPr sz="2000" b="1"/>
            </a:lvl2pPr>
            <a:lvl3pPr marL="1371600" lvl="2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None/>
              <a:defRPr sz="1800" b="1"/>
            </a:lvl3pPr>
            <a:lvl4pPr marL="1828800" lvl="3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4pPr>
            <a:lvl5pPr marL="2286000" lvl="4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5pPr>
            <a:lvl6pPr marL="2743200" lvl="5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6pPr>
            <a:lvl7pPr marL="3200400" lvl="6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7pPr>
            <a:lvl8pPr marL="3657600" lvl="7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8pPr>
            <a:lvl9pPr marL="4114800" lvl="8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  <a:defRPr sz="1600" b="1"/>
            </a:lvl9pPr>
          </a:lstStyle>
          <a:p>
            <a:endParaRPr/>
          </a:p>
        </p:txBody>
      </p:sp>
      <p:sp>
        <p:nvSpPr>
          <p:cNvPr id="61" name="Google Shape;61;p50"/>
          <p:cNvSpPr txBox="1">
            <a:spLocks noGrp="1"/>
          </p:cNvSpPr>
          <p:nvPr>
            <p:ph type="body" idx="4"/>
          </p:nvPr>
        </p:nvSpPr>
        <p:spPr>
          <a:xfrm>
            <a:off x="4645026" y="2174875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/>
            </a:lvl1pPr>
            <a:lvl2pPr marL="914400" lvl="1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•"/>
              <a:defRPr sz="1800"/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–"/>
              <a:defRPr sz="1600"/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5pPr>
            <a:lvl6pPr marL="2743200" lvl="5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6pPr>
            <a:lvl7pPr marL="3200400" lvl="6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7pPr>
            <a:lvl8pPr marL="3657600" lvl="7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8pPr>
            <a:lvl9pPr marL="4114800" lvl="8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Char char="»"/>
              <a:defRPr sz="1600"/>
            </a:lvl9pPr>
          </a:lstStyle>
          <a:p>
            <a:endParaRPr/>
          </a:p>
        </p:txBody>
      </p:sp>
      <p:sp>
        <p:nvSpPr>
          <p:cNvPr id="62" name="Google Shape;62;p50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50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50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51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51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38100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•"/>
              <a:defRPr sz="2800"/>
            </a:lvl1pPr>
            <a:lvl2pPr marL="914400" lvl="1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–"/>
              <a:defRPr sz="2400"/>
            </a:lvl2pPr>
            <a:lvl3pPr marL="1371600" lvl="2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•"/>
              <a:defRPr sz="2000"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–"/>
              <a:defRPr sz="1800"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9pPr>
          </a:lstStyle>
          <a:p>
            <a:endParaRPr/>
          </a:p>
        </p:txBody>
      </p:sp>
      <p:sp>
        <p:nvSpPr>
          <p:cNvPr id="68" name="Google Shape;68;p51"/>
          <p:cNvSpPr txBox="1">
            <a:spLocks noGrp="1"/>
          </p:cNvSpPr>
          <p:nvPr>
            <p:ph type="body" idx="2"/>
          </p:nvPr>
        </p:nvSpPr>
        <p:spPr>
          <a:xfrm>
            <a:off x="4648200" y="1981200"/>
            <a:ext cx="38100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•"/>
              <a:defRPr sz="2800"/>
            </a:lvl1pPr>
            <a:lvl2pPr marL="914400" lvl="1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–"/>
              <a:defRPr sz="2400"/>
            </a:lvl2pPr>
            <a:lvl3pPr marL="1371600" lvl="2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•"/>
              <a:defRPr sz="2000"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–"/>
              <a:defRPr sz="1800"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mes New Roman"/>
              <a:buChar char="»"/>
              <a:defRPr sz="1800"/>
            </a:lvl9pPr>
          </a:lstStyle>
          <a:p>
            <a:endParaRPr/>
          </a:p>
        </p:txBody>
      </p:sp>
      <p:sp>
        <p:nvSpPr>
          <p:cNvPr id="69" name="Google Shape;69;p51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51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51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jpg"/><Relationship Id="rId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.jp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4">
            <a:alphaModFix/>
          </a:blip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CB7F23-274E-4F00-8E00-5BF16E66A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77749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CB7F23-274E-4F00-8E00-5BF16E66A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  <a:defRPr sz="32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–"/>
              <a:defRPr sz="28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22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4">
            <a:alphaModFix/>
          </a:blip>
          <a:stretch>
            <a:fillRect/>
          </a:stretch>
        </a:blip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CEBF8E-E821-4F47-BB78-50CE1CC549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23590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CEBF8E-E821-4F47-BB78-50CE1CC549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Google Shape;85;p24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86" name="Google Shape;86;p24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  <a:defRPr sz="32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–"/>
              <a:defRPr sz="28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87" name="Google Shape;87;p24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8" name="Google Shape;88;p24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9" name="Google Shape;89;p24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8">
            <a:alphaModFix/>
          </a:blip>
          <a:stretch>
            <a:fillRect/>
          </a:stretch>
        </a:blipFill>
        <a:effectLst/>
      </p:bgPr>
    </p:bg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63F14C-4B55-446E-AAC1-DC5A5B9491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7415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63F14C-4B55-446E-AAC1-DC5A5B9491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0" name="Google Shape;160;p26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61" name="Google Shape;161;p26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  <a:defRPr sz="32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–"/>
              <a:defRPr sz="28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62" name="Google Shape;162;p26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3" name="Google Shape;163;p26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4" name="Google Shape;164;p26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3" r:id="rId1"/>
    <p:sldLayoutId id="2147483690" r:id="rId2"/>
    <p:sldLayoutId id="2147483692" r:id="rId3"/>
    <p:sldLayoutId id="2147483693" r:id="rId4"/>
    <p:sldLayoutId id="2147483694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>
            <a:alphaModFix/>
          </a:blip>
          <a:stretch>
            <a:fillRect/>
          </a:stretch>
        </a:blipFill>
        <a:effectLst/>
      </p:bgPr>
    </p:bg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15F1A9-9AC5-46F6-8935-EAB976DB2F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72911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15F1A9-9AC5-46F6-8935-EAB976DB2F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Google Shape;170;p31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71" name="Google Shape;171;p31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  <a:defRPr sz="32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–"/>
              <a:defRPr sz="28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72" name="Google Shape;172;p31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3" name="Google Shape;173;p31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4" name="Google Shape;174;p31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5" r:id="rId1"/>
    <p:sldLayoutId id="2147483691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B8DD4A-4C68-4A5F-9703-6C207DAB8E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4229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B8DD4A-4C68-4A5F-9703-6C207DAB8E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0" name="Google Shape;180;p34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81" name="Google Shape;181;p34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  <a:defRPr sz="32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–"/>
              <a:defRPr sz="28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82" name="Google Shape;182;p34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7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4">
            <a:alphaModFix/>
          </a:blip>
          <a:stretch>
            <a:fillRect/>
          </a:stretch>
        </a:blipFill>
        <a:effectLst/>
      </p:bgPr>
    </p:bg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170D23-47D9-4EE0-9222-27546C5C3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25103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170D23-47D9-4EE0-9222-27546C5C3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8" name="Google Shape;188;p30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89" name="Google Shape;189;p30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  <a:defRPr sz="32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Char char="–"/>
              <a:defRPr sz="28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  <a:defRPr sz="24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–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Times New Roman"/>
              <a:buChar char="»"/>
              <a:defRPr sz="20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endParaRPr/>
          </a:p>
        </p:txBody>
      </p:sp>
      <p:sp>
        <p:nvSpPr>
          <p:cNvPr id="190" name="Google Shape;190;p30"/>
          <p:cNvSpPr txBox="1">
            <a:spLocks noGrp="1"/>
          </p:cNvSpPr>
          <p:nvPr>
            <p:ph type="dt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1" name="Google Shape;191;p30"/>
          <p:cNvSpPr txBox="1">
            <a:spLocks noGrp="1"/>
          </p:cNvSpPr>
          <p:nvPr>
            <p:ph type="ft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2" name="Google Shape;192;p30"/>
          <p:cNvSpPr txBox="1">
            <a:spLocks noGrp="1"/>
          </p:cNvSpPr>
          <p:nvPr>
            <p:ph type="sldNum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Times New Roman"/>
              <a:buNone/>
              <a:defRPr sz="1400" b="0" i="0" u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1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24.tif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8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7" Type="http://schemas.openxmlformats.org/officeDocument/2006/relationships/image" Target="../media/image49.jpe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2.xml"/><Relationship Id="rId6" Type="http://schemas.openxmlformats.org/officeDocument/2006/relationships/image" Target="../media/image48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5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5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hyperlink" Target="https://twitter.com/Triajinc" TargetMode="External"/><Relationship Id="rId7" Type="http://schemas.openxmlformats.org/officeDocument/2006/relationships/hyperlink" Target="https://www.instagram.com/triajinc/" TargetMode="External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7.png"/><Relationship Id="rId11" Type="http://schemas.openxmlformats.org/officeDocument/2006/relationships/image" Target="../media/image60.png"/><Relationship Id="rId5" Type="http://schemas.openxmlformats.org/officeDocument/2006/relationships/hyperlink" Target="https://www.linkedin.com/company/triaj/" TargetMode="External"/><Relationship Id="rId10" Type="http://schemas.openxmlformats.org/officeDocument/2006/relationships/image" Target="../media/image59.png"/><Relationship Id="rId4" Type="http://schemas.openxmlformats.org/officeDocument/2006/relationships/image" Target="../media/image56.png"/><Relationship Id="rId9" Type="http://schemas.openxmlformats.org/officeDocument/2006/relationships/hyperlink" Target="https://www.facebook.com/triajinc/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2B6903-9FE0-4E9A-A473-E91D80EAD9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505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2B6903-9FE0-4E9A-A473-E91D80EAD9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7" name="Google Shape;267;p1"/>
          <p:cNvSpPr txBox="1">
            <a:spLocks noGrp="1"/>
          </p:cNvSpPr>
          <p:nvPr>
            <p:ph type="ctrTitle"/>
          </p:nvPr>
        </p:nvSpPr>
        <p:spPr>
          <a:xfrm>
            <a:off x="762000" y="-457200"/>
            <a:ext cx="7620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F2F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rgbClr val="F2F2F2"/>
                </a:solidFill>
              </a:rPr>
              <a:t>Вибухова травма</a:t>
            </a:r>
            <a:endParaRPr lang="uk-UA" dirty="0"/>
          </a:p>
        </p:txBody>
      </p:sp>
      <p:sp>
        <p:nvSpPr>
          <p:cNvPr id="268" name="Google Shape;268;p1"/>
          <p:cNvSpPr txBox="1">
            <a:spLocks noGrp="1"/>
          </p:cNvSpPr>
          <p:nvPr>
            <p:ph type="subTitle" idx="1"/>
          </p:nvPr>
        </p:nvSpPr>
        <p:spPr>
          <a:xfrm>
            <a:off x="457200" y="2133600"/>
            <a:ext cx="8153400" cy="556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</a:pPr>
            <a:endParaRPr sz="32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</a:pPr>
            <a:endParaRPr sz="32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F2F2F2"/>
              </a:buClr>
              <a:buSzPts val="3200"/>
              <a:buFont typeface="Times New Roman"/>
              <a:buNone/>
            </a:pPr>
            <a:r>
              <a:rPr lang="en-US" b="1">
                <a:solidFill>
                  <a:srgbClr val="F2F2F2"/>
                </a:solidFill>
              </a:rPr>
              <a:t>Мартін Р</a:t>
            </a:r>
            <a:r>
              <a:rPr lang="en-US" sz="3200" b="1" i="0" u="none">
                <a:solidFill>
                  <a:srgbClr val="F2F2F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. Айхельберґер, </a:t>
            </a:r>
            <a:endParaRPr sz="32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F2F2F2"/>
              </a:buClr>
              <a:buSzPts val="3200"/>
              <a:buFont typeface="Times New Roman"/>
              <a:buNone/>
            </a:pPr>
            <a:r>
              <a:rPr lang="en-US" sz="3200" b="1" i="0" u="none">
                <a:solidFill>
                  <a:srgbClr val="F2F2F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октор медицини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</a:pPr>
            <a:endParaRPr sz="32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ctr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mes New Roman"/>
              <a:buNone/>
            </a:pPr>
            <a:endParaRPr sz="16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ctr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F2F2F2"/>
              </a:buClr>
              <a:buSzPts val="1600"/>
              <a:buFont typeface="Times New Roman"/>
              <a:buNone/>
            </a:pPr>
            <a:r>
              <a:rPr lang="en-US" sz="1600" b="1">
                <a:solidFill>
                  <a:srgbClr val="F2F2F2"/>
                </a:solidFill>
              </a:rPr>
              <a:t>Професор хірургії та педіатрії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F2F2F2"/>
              </a:buClr>
              <a:buSzPts val="1600"/>
              <a:buFont typeface="Times New Roman"/>
              <a:buNone/>
            </a:pPr>
            <a:r>
              <a:rPr lang="en-US" sz="1600" b="1">
                <a:solidFill>
                  <a:srgbClr val="F2F2F2"/>
                </a:solidFill>
              </a:rPr>
              <a:t>Національний дитячий медичний центр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F2F2F2"/>
              </a:buClr>
              <a:buSzPts val="1600"/>
              <a:buFont typeface="Times New Roman"/>
              <a:buNone/>
            </a:pPr>
            <a:r>
              <a:rPr lang="en-US" sz="1600" b="1">
                <a:solidFill>
                  <a:srgbClr val="F2F2F2"/>
                </a:solidFill>
              </a:rPr>
              <a:t>Вашингтон</a:t>
            </a:r>
            <a:r>
              <a:rPr lang="en-US" sz="1600" b="1" i="0" u="none">
                <a:solidFill>
                  <a:srgbClr val="F2F2F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, округ Колу</a:t>
            </a:r>
            <a:r>
              <a:rPr lang="en-US" sz="1600" b="1">
                <a:solidFill>
                  <a:srgbClr val="F2F2F2"/>
                </a:solidFill>
              </a:rPr>
              <a:t>мбія</a:t>
            </a:r>
            <a:endParaRPr/>
          </a:p>
          <a:p>
            <a:pPr marL="0" lvl="0" indent="0" algn="ctr" rtl="0">
              <a:lnSpc>
                <a:spcPct val="100000"/>
              </a:lnSpc>
              <a:spcBef>
                <a:spcPts val="760"/>
              </a:spcBef>
              <a:spcAft>
                <a:spcPts val="0"/>
              </a:spcAft>
              <a:buClr>
                <a:schemeClr val="dk1"/>
              </a:buClr>
              <a:buSzPts val="3800"/>
              <a:buFont typeface="Times New Roman"/>
              <a:buNone/>
            </a:pPr>
            <a:endParaRPr sz="38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ctr" rtl="0">
              <a:lnSpc>
                <a:spcPct val="100000"/>
              </a:lnSpc>
              <a:spcBef>
                <a:spcPts val="760"/>
              </a:spcBef>
              <a:spcAft>
                <a:spcPts val="0"/>
              </a:spcAft>
              <a:buClr>
                <a:schemeClr val="dk1"/>
              </a:buClr>
              <a:buSzPts val="3800"/>
              <a:buFont typeface="Times New Roman"/>
              <a:buNone/>
            </a:pPr>
            <a:endParaRPr sz="38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ctr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None/>
            </a:pPr>
            <a:endParaRPr sz="28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ctr" rtl="0">
              <a:lnSpc>
                <a:spcPct val="100000"/>
              </a:lnSpc>
              <a:spcBef>
                <a:spcPts val="760"/>
              </a:spcBef>
              <a:spcAft>
                <a:spcPts val="0"/>
              </a:spcAft>
              <a:buClr>
                <a:schemeClr val="dk1"/>
              </a:buClr>
              <a:buSzPts val="3800"/>
              <a:buFont typeface="Times New Roman"/>
              <a:buNone/>
            </a:pPr>
            <a:endParaRPr sz="38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lvl="0" indent="0" algn="ctr" rtl="0">
              <a:spcBef>
                <a:spcPts val="760"/>
              </a:spcBef>
              <a:spcAft>
                <a:spcPts val="0"/>
              </a:spcAft>
              <a:buClr>
                <a:schemeClr val="dk1"/>
              </a:buClr>
              <a:buSzPts val="3800"/>
              <a:buFont typeface="Times New Roman"/>
              <a:buNone/>
            </a:pPr>
            <a:endParaRPr sz="3800" b="1" i="0" u="none">
              <a:solidFill>
                <a:srgbClr val="F2F2F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cxnSp>
        <p:nvCxnSpPr>
          <p:cNvPr id="269" name="Google Shape;269;p1"/>
          <p:cNvCxnSpPr/>
          <p:nvPr/>
        </p:nvCxnSpPr>
        <p:spPr>
          <a:xfrm>
            <a:off x="457200" y="1676400"/>
            <a:ext cx="83058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Content Placeholder 3" descr="Saddam facial injuries.jpg">
            <a:extLst>
              <a:ext uri="{FF2B5EF4-FFF2-40B4-BE49-F238E27FC236}">
                <a16:creationId xmlns:a16="http://schemas.microsoft.com/office/drawing/2014/main" id="{0541E40B-150B-C45E-D4A9-3D04C29F38A2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14350" y="152400"/>
            <a:ext cx="8096250" cy="6477000"/>
          </a:xfr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 descr="Cubano - IMAG0069">
            <a:extLst>
              <a:ext uri="{FF2B5EF4-FFF2-40B4-BE49-F238E27FC236}">
                <a16:creationId xmlns:a16="http://schemas.microsoft.com/office/drawing/2014/main" id="{7A733716-5162-0152-8C7D-324B76D58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0" y="381000"/>
            <a:ext cx="8128000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13585E-1C85-4FC8-8F42-31412F2A12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355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13585E-1C85-4FC8-8F42-31412F2A1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4" name="Google Shape;304;p6"/>
          <p:cNvGrpSpPr/>
          <p:nvPr/>
        </p:nvGrpSpPr>
        <p:grpSpPr>
          <a:xfrm>
            <a:off x="5257800" y="1371600"/>
            <a:ext cx="3581400" cy="5029200"/>
            <a:chOff x="5562600" y="1828800"/>
            <a:chExt cx="2971800" cy="3849159"/>
          </a:xfrm>
        </p:grpSpPr>
        <p:pic>
          <p:nvPicPr>
            <p:cNvPr id="305" name="Google Shape;305;p6" descr="Saturday 26th July 2008 005.JPG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562600" y="1828800"/>
              <a:ext cx="2971800" cy="384915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06" name="Google Shape;306;p6"/>
            <p:cNvSpPr txBox="1"/>
            <p:nvPr/>
          </p:nvSpPr>
          <p:spPr>
            <a:xfrm>
              <a:off x="6629400" y="2590800"/>
              <a:ext cx="381000" cy="457200"/>
            </a:xfrm>
            <a:prstGeom prst="rect">
              <a:avLst/>
            </a:prstGeom>
            <a:solidFill>
              <a:schemeClr val="dk1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uk-UA"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07" name="Google Shape;307;p6"/>
          <p:cNvSpPr txBox="1"/>
          <p:nvPr/>
        </p:nvSpPr>
        <p:spPr>
          <a:xfrm>
            <a:off x="381000" y="1066800"/>
            <a:ext cx="487680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132075" bIns="50800" anchor="t" anchorCtr="0">
            <a:noAutofit/>
          </a:bodyPr>
          <a:lstStyle/>
          <a:p>
            <a:pPr marL="0" marR="0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lang="uk-UA" sz="2400" b="0" i="0" u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-13716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160"/>
              <a:buFont typeface="Noto Sans Symbols"/>
              <a:buChar char="★"/>
            </a:pPr>
            <a:r>
              <a:rPr lang="uk-UA" sz="2400" b="1" i="0" u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uk-UA" sz="2400" b="1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Турнікет</a:t>
            </a:r>
            <a:r>
              <a:rPr lang="uk-UA" sz="2400" b="0" i="0" u="none" baseline="30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lang="uk-UA" sz="2400" b="0" i="0" u="none">
              <a:solidFill>
                <a:schemeClr val="lt1"/>
              </a:solidFill>
              <a:latin typeface="Courier"/>
              <a:ea typeface="Courier"/>
              <a:cs typeface="Courier"/>
              <a:sym typeface="Courier"/>
            </a:endParaRPr>
          </a:p>
          <a:p>
            <a:pPr marL="0" marR="0" lvl="0" indent="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 lang="uk-UA" sz="2400" b="0" i="0" u="none">
              <a:solidFill>
                <a:schemeClr val="lt1"/>
              </a:solidFill>
              <a:latin typeface="Courier"/>
              <a:ea typeface="Courier"/>
              <a:cs typeface="Courier"/>
              <a:sym typeface="Courier"/>
            </a:endParaRPr>
          </a:p>
        </p:txBody>
      </p:sp>
      <p:sp>
        <p:nvSpPr>
          <p:cNvPr id="308" name="Google Shape;308;p6"/>
          <p:cNvSpPr txBox="1"/>
          <p:nvPr/>
        </p:nvSpPr>
        <p:spPr>
          <a:xfrm>
            <a:off x="567267" y="5210249"/>
            <a:ext cx="37809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132075" bIns="50800" anchor="t" anchorCtr="0">
            <a:noAutofit/>
          </a:bodyPr>
          <a:lstStyle/>
          <a:p>
            <a:pPr marL="0" marR="0" lv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000"/>
              <a:buFont typeface="Calibri"/>
              <a:buNone/>
            </a:pPr>
            <a:r>
              <a:rPr lang="uk-UA" sz="2400" b="1" dirty="0">
                <a:solidFill>
                  <a:srgbClr val="FFFF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  <a:sym typeface="Calibri"/>
              </a:rPr>
              <a:t>Рятує життя</a:t>
            </a:r>
            <a:endParaRPr lang="uk-UA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FFFF00"/>
              </a:buClr>
              <a:buSzPts val="3000"/>
              <a:buFont typeface="Calibri"/>
              <a:buNone/>
            </a:pPr>
            <a:r>
              <a:rPr lang="uk-UA" sz="2400" b="1" dirty="0">
                <a:solidFill>
                  <a:srgbClr val="FFFF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  <a:sym typeface="Calibri"/>
              </a:rPr>
              <a:t>Не збільшується кількість ампутацій</a:t>
            </a:r>
            <a:endParaRPr lang="uk-UA" sz="2400" b="1" i="0" u="none" dirty="0">
              <a:solidFill>
                <a:srgbClr val="FFFF00"/>
              </a:solidFill>
              <a:latin typeface="Times New Roman" panose="02020603050405020304" pitchFamily="18" charset="0"/>
              <a:ea typeface="Courier"/>
              <a:cs typeface="Times New Roman" panose="02020603050405020304" pitchFamily="18" charset="0"/>
              <a:sym typeface="Courier"/>
            </a:endParaRPr>
          </a:p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uk-UA" sz="3000" b="1" i="0" u="none" dirty="0">
              <a:solidFill>
                <a:srgbClr val="FFFF00"/>
              </a:solidFill>
              <a:latin typeface="Courier"/>
              <a:ea typeface="Courier"/>
              <a:cs typeface="Courier"/>
              <a:sym typeface="Courier"/>
            </a:endParaRPr>
          </a:p>
        </p:txBody>
      </p:sp>
      <p:sp>
        <p:nvSpPr>
          <p:cNvPr id="309" name="Google Shape;309;p6"/>
          <p:cNvSpPr txBox="1"/>
          <p:nvPr/>
        </p:nvSpPr>
        <p:spPr>
          <a:xfrm>
            <a:off x="76200" y="6535737"/>
            <a:ext cx="50292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None/>
            </a:pPr>
            <a:r>
              <a:rPr lang="uk-UA" sz="1600" b="1" i="0" u="none" baseline="300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r>
              <a:rPr lang="uk-UA" sz="16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Краг та ін.</a:t>
            </a:r>
            <a:r>
              <a:rPr lang="uk-UA" sz="1600" b="1" i="0" u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Ann Surg 249(1):1, 2009</a:t>
            </a:r>
            <a:endParaRPr lang="uk-UA"/>
          </a:p>
        </p:txBody>
      </p:sp>
      <p:pic>
        <p:nvPicPr>
          <p:cNvPr id="310" name="Google Shape;310;p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029200" y="3911600"/>
            <a:ext cx="3962400" cy="2641600"/>
          </a:xfrm>
          <a:prstGeom prst="rect">
            <a:avLst/>
          </a:prstGeom>
          <a:noFill/>
          <a:ln>
            <a:noFill/>
          </a:ln>
        </p:spPr>
      </p:pic>
      <p:sp>
        <p:nvSpPr>
          <p:cNvPr id="311" name="Google Shape;311;p6"/>
          <p:cNvSpPr txBox="1">
            <a:spLocks noGrp="1"/>
          </p:cNvSpPr>
          <p:nvPr>
            <p:ph type="title"/>
          </p:nvPr>
        </p:nvSpPr>
        <p:spPr>
          <a:xfrm>
            <a:off x="457200" y="-228600"/>
            <a:ext cx="8229600" cy="144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132075" bIns="4570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400"/>
              <a:buFont typeface="Times New Roman"/>
              <a:buNone/>
            </a:pPr>
            <a:r>
              <a:rPr lang="uk-UA" sz="5400" b="1">
                <a:solidFill>
                  <a:srgbClr val="FFFFFF"/>
                </a:solidFill>
              </a:rPr>
              <a:t>Турнікет</a:t>
            </a:r>
            <a:endParaRPr lang="uk-UA"/>
          </a:p>
        </p:txBody>
      </p:sp>
      <p:cxnSp>
        <p:nvCxnSpPr>
          <p:cNvPr id="312" name="Google Shape;312;p6"/>
          <p:cNvCxnSpPr/>
          <p:nvPr/>
        </p:nvCxnSpPr>
        <p:spPr>
          <a:xfrm>
            <a:off x="0" y="1295400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313" name="Google Shape;313;p6"/>
          <p:cNvCxnSpPr/>
          <p:nvPr/>
        </p:nvCxnSpPr>
        <p:spPr>
          <a:xfrm rot="5400000" flipH="1">
            <a:off x="5638800" y="3276600"/>
            <a:ext cx="1828800" cy="457200"/>
          </a:xfrm>
          <a:prstGeom prst="straightConnector1">
            <a:avLst/>
          </a:prstGeom>
          <a:noFill/>
          <a:ln w="66675" cap="flat" cmpd="sng">
            <a:solidFill>
              <a:srgbClr val="FF0000"/>
            </a:solidFill>
            <a:prstDash val="solid"/>
            <a:miter lim="800000"/>
            <a:headEnd type="none" w="med" len="med"/>
            <a:tailEnd type="stealth" w="med" len="med"/>
          </a:ln>
        </p:spPr>
      </p:cxnSp>
      <p:grpSp>
        <p:nvGrpSpPr>
          <p:cNvPr id="314" name="Google Shape;314;p6"/>
          <p:cNvGrpSpPr/>
          <p:nvPr/>
        </p:nvGrpSpPr>
        <p:grpSpPr>
          <a:xfrm>
            <a:off x="355600" y="2068512"/>
            <a:ext cx="4064000" cy="3113087"/>
            <a:chOff x="355600" y="2069206"/>
            <a:chExt cx="4064000" cy="3112394"/>
          </a:xfrm>
        </p:grpSpPr>
        <p:pic>
          <p:nvPicPr>
            <p:cNvPr id="315" name="Google Shape;315;p6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355600" y="2069206"/>
              <a:ext cx="4064000" cy="311239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16" name="Google Shape;316;p6"/>
            <p:cNvSpPr txBox="1"/>
            <p:nvPr/>
          </p:nvSpPr>
          <p:spPr>
            <a:xfrm>
              <a:off x="1524000" y="3429000"/>
              <a:ext cx="2180700" cy="400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r>
                <a:rPr lang="uk-UA" sz="2000" b="1">
                  <a:solidFill>
                    <a:schemeClr val="dk1"/>
                  </a:solidFill>
                </a:rPr>
                <a:t>Без турнікету</a:t>
              </a:r>
              <a:r>
                <a:rPr lang="uk-UA" sz="2000" b="1" i="0" u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!</a:t>
              </a:r>
              <a:endParaRPr lang="uk-UA"/>
            </a:p>
          </p:txBody>
        </p:sp>
        <p:cxnSp>
          <p:nvCxnSpPr>
            <p:cNvPr id="317" name="Google Shape;317;p6"/>
            <p:cNvCxnSpPr/>
            <p:nvPr/>
          </p:nvCxnSpPr>
          <p:spPr>
            <a:xfrm flipH="1">
              <a:off x="1066800" y="3810000"/>
              <a:ext cx="990600" cy="762000"/>
            </a:xfrm>
            <a:prstGeom prst="straightConnector1">
              <a:avLst/>
            </a:prstGeom>
            <a:noFill/>
            <a:ln w="2540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triangle" w="med" len="med"/>
            </a:ln>
          </p:spPr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711AF3-44A9-4C83-8F66-944A259E92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12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711AF3-44A9-4C83-8F66-944A259E92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2" name="Google Shape;322;p7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 i="0" u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ровообіг</a:t>
            </a:r>
            <a:endParaRPr lang="uk-UA">
              <a:solidFill>
                <a:schemeClr val="bg1"/>
              </a:solidFill>
            </a:endParaRPr>
          </a:p>
        </p:txBody>
      </p:sp>
      <p:cxnSp>
        <p:nvCxnSpPr>
          <p:cNvPr id="323" name="Google Shape;323;p7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324" name="Google Shape;324;p7"/>
          <p:cNvSpPr txBox="1"/>
          <p:nvPr/>
        </p:nvSpPr>
        <p:spPr>
          <a:xfrm>
            <a:off x="381000" y="1503362"/>
            <a:ext cx="8305800" cy="41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Char char="•"/>
            </a:pPr>
            <a:r>
              <a:rPr lang="uk-UA" sz="32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орослі</a:t>
            </a:r>
            <a:endParaRPr lang="uk-UA">
              <a:solidFill>
                <a:schemeClr val="bg1"/>
              </a:solidFill>
            </a:endParaRPr>
          </a:p>
          <a:p>
            <a:pPr marL="1371600" marR="0" lvl="3" indent="-152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</a:pP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Цільна кров</a:t>
            </a: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–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найкраще</a:t>
            </a:r>
            <a:endParaRPr lang="uk-UA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uk-UA" sz="1600" b="1" i="0" u="none" strike="noStrike" cap="none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371600" marR="0" lvl="3" indent="-152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</a:pP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1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еритроцити</a:t>
            </a: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1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лазма</a:t>
            </a: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1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тромбоцити</a:t>
            </a:r>
            <a:endParaRPr lang="uk-UA">
              <a:solidFill>
                <a:schemeClr val="bg1"/>
              </a:solidFill>
            </a:endParaRPr>
          </a:p>
          <a:p>
            <a:pPr marL="91440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lang="uk-UA" sz="2400" b="1" i="0" u="none" strike="noStrike" cap="none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Char char="•"/>
            </a:pPr>
            <a:r>
              <a:rPr lang="uk-UA" sz="32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іти</a:t>
            </a:r>
            <a:endParaRPr lang="uk-UA">
              <a:solidFill>
                <a:schemeClr val="bg1"/>
              </a:solidFill>
            </a:endParaRPr>
          </a:p>
          <a:p>
            <a:pPr marL="1371600" marR="0" lvl="3" indent="-152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</a:pP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Цільна кров</a:t>
            </a: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– 20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м3/кг</a:t>
            </a:r>
            <a:endParaRPr lang="uk-UA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lang="uk-UA" sz="1600" b="1" i="0" u="none" strike="noStrike" cap="none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371600" marR="0" lvl="3" indent="-152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mes New Roman"/>
              <a:buChar char="•"/>
            </a:pP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10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м3/кг</a:t>
            </a: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еритроцитів</a:t>
            </a: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10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м3/кг</a:t>
            </a: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лазми</a:t>
            </a: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10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м3/кг</a:t>
            </a:r>
            <a:r>
              <a:rPr lang="uk-UA" sz="2400" b="1" i="0" u="none" strike="noStrike" cap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тромбоцитів</a:t>
            </a:r>
            <a:endParaRPr lang="uk-UA">
              <a:solidFill>
                <a:schemeClr val="bg1"/>
              </a:solidFill>
            </a:endParaRPr>
          </a:p>
          <a:p>
            <a: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uk-UA" sz="2400" b="1" i="0" u="none" strike="noStrike" cap="none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325" name="Google Shape;325;p7"/>
          <p:cNvSpPr txBox="1"/>
          <p:nvPr/>
        </p:nvSpPr>
        <p:spPr>
          <a:xfrm>
            <a:off x="533400" y="5354638"/>
            <a:ext cx="8077200" cy="1197900"/>
          </a:xfrm>
          <a:prstGeom prst="rect">
            <a:avLst/>
          </a:prstGeom>
          <a:noFill/>
          <a:ln w="38100" cap="flat" cmpd="sng">
            <a:solidFill>
              <a:srgbClr val="FFFF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Times New Roman"/>
              <a:buNone/>
            </a:pPr>
            <a:r>
              <a:rPr lang="uk-UA" sz="36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Обмежена кількість</a:t>
            </a:r>
            <a:r>
              <a:rPr lang="uk-UA" sz="3600" b="1" i="0" u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/ </a:t>
            </a:r>
            <a:r>
              <a:rPr lang="uk-UA" sz="36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родукт для реанімації</a:t>
            </a:r>
            <a:endParaRPr lang="uk-UA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118CDB6-92ED-4780-9BE2-4F820906EB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4813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118CDB6-92ED-4780-9BE2-4F820906E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0" name="Google Shape;330;p8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 i="0" u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ихальні шляхи</a:t>
            </a:r>
            <a:endParaRPr lang="uk-UA">
              <a:solidFill>
                <a:schemeClr val="bg1"/>
              </a:solidFill>
            </a:endParaRPr>
          </a:p>
        </p:txBody>
      </p:sp>
      <p:cxnSp>
        <p:nvCxnSpPr>
          <p:cNvPr id="331" name="Google Shape;331;p8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332" name="Google Shape;332;p8"/>
          <p:cNvSpPr txBox="1"/>
          <p:nvPr/>
        </p:nvSpPr>
        <p:spPr>
          <a:xfrm>
            <a:off x="390925" y="1600200"/>
            <a:ext cx="3482575" cy="29828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Вдихання</a:t>
            </a:r>
            <a:r>
              <a:rPr lang="uk-UA" sz="2800" b="1" i="0" u="none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r>
              <a:rPr lang="uk-UA" sz="2800" b="1" i="0" u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	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2800"/>
              <a:buFont typeface="Arial"/>
              <a:buNone/>
            </a:pPr>
            <a:endParaRPr lang="uk-UA" sz="2800" b="1" i="0" u="none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800" b="1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ропущена травма</a:t>
            </a:r>
            <a:r>
              <a:rPr lang="uk-UA" sz="2800" b="1" i="0" u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endParaRPr lang="uk-UA" sz="2800"/>
          </a:p>
        </p:txBody>
      </p:sp>
      <p:cxnSp>
        <p:nvCxnSpPr>
          <p:cNvPr id="333" name="Google Shape;333;p8"/>
          <p:cNvCxnSpPr>
            <a:cxnSpLocks/>
          </p:cNvCxnSpPr>
          <p:nvPr/>
        </p:nvCxnSpPr>
        <p:spPr>
          <a:xfrm>
            <a:off x="4132382" y="4130041"/>
            <a:ext cx="0" cy="496992"/>
          </a:xfrm>
          <a:prstGeom prst="straightConnector1">
            <a:avLst/>
          </a:prstGeom>
          <a:noFill/>
          <a:ln w="82550" cap="flat" cmpd="sng">
            <a:solidFill>
              <a:schemeClr val="bg1"/>
            </a:solidFill>
            <a:prstDash val="solid"/>
            <a:miter lim="800000"/>
            <a:headEnd type="triangle" w="med" len="med"/>
            <a:tailEnd type="none" w="med" len="med"/>
          </a:ln>
        </p:spPr>
      </p:cxnSp>
      <p:sp>
        <p:nvSpPr>
          <p:cNvPr id="6" name="Google Shape;332;p8">
            <a:extLst>
              <a:ext uri="{FF2B5EF4-FFF2-40B4-BE49-F238E27FC236}">
                <a16:creationId xmlns:a16="http://schemas.microsoft.com/office/drawing/2014/main" id="{CB699767-79E9-4E91-A29D-E33CF122024E}"/>
              </a:ext>
            </a:extLst>
          </p:cNvPr>
          <p:cNvSpPr txBox="1"/>
          <p:nvPr/>
        </p:nvSpPr>
        <p:spPr>
          <a:xfrm>
            <a:off x="3893152" y="1600200"/>
            <a:ext cx="4859923" cy="4660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Інтубація</a:t>
            </a:r>
            <a:r>
              <a:rPr lang="uk-UA" sz="2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, </a:t>
            </a: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бронхоскопія</a:t>
            </a:r>
            <a:endParaRPr lang="uk-UA" sz="2800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2"/>
              </a:buClr>
              <a:buSzPts val="28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Трахеотомія</a:t>
            </a:r>
            <a:r>
              <a:rPr lang="uk-UA" sz="2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</a:t>
            </a: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уникати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2"/>
              </a:buClr>
              <a:buSzPts val="2800"/>
              <a:buFont typeface="Times New Roman"/>
              <a:buNone/>
            </a:pPr>
            <a:endParaRPr lang="uk-UA" sz="28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2"/>
              </a:buClr>
              <a:buSzPts val="2800"/>
              <a:buFont typeface="Times New Roman"/>
              <a:buNone/>
            </a:pPr>
            <a:endParaRPr lang="uk-UA" sz="28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2800"/>
              <a:buFont typeface="Arial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атримка</a:t>
            </a:r>
            <a:r>
              <a:rPr lang="uk-UA" sz="2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</a:t>
            </a: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исфагія </a:t>
            </a:r>
            <a:r>
              <a:rPr lang="uk-UA" sz="2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(12 </a:t>
            </a: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од</a:t>
            </a:r>
            <a:r>
              <a:rPr lang="uk-UA" sz="2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)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2"/>
              </a:buClr>
              <a:buSzPts val="28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 </a:t>
            </a:r>
            <a:r>
              <a:rPr lang="en-US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 </a:t>
            </a: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Частота дихання</a:t>
            </a:r>
            <a:endParaRPr lang="uk-UA" sz="28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2"/>
              </a:buClr>
              <a:buSzPts val="28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Cпостереження 24 год</a:t>
            </a:r>
            <a:endParaRPr lang="uk-UA" sz="2800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2"/>
              </a:buClr>
              <a:buSzPts val="28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Бронхоскопія</a:t>
            </a:r>
            <a:endParaRPr lang="uk-UA" sz="2800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dk2"/>
              </a:buClr>
              <a:buSzPts val="28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Інтубація</a:t>
            </a:r>
            <a:r>
              <a:rPr lang="uk-UA" sz="2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r>
              <a:rPr lang="uk-UA" sz="2800" b="1" i="0" u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endParaRPr lang="uk-UA" sz="280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8E7063-CE80-4DB0-9250-DBB48823A6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2519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8E7063-CE80-4DB0-9250-DBB48823A6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8" name="Google Shape;338;p9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 i="0" u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ихання</a:t>
            </a:r>
            <a:endParaRPr lang="uk-UA">
              <a:solidFill>
                <a:schemeClr val="bg1"/>
              </a:solidFill>
            </a:endParaRPr>
          </a:p>
        </p:txBody>
      </p:sp>
      <p:cxnSp>
        <p:nvCxnSpPr>
          <p:cNvPr id="339" name="Google Shape;339;p9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341" name="Google Shape;341;p9"/>
          <p:cNvCxnSpPr/>
          <p:nvPr/>
        </p:nvCxnSpPr>
        <p:spPr>
          <a:xfrm rot="10800000">
            <a:off x="838200" y="1981200"/>
            <a:ext cx="0" cy="685800"/>
          </a:xfrm>
          <a:prstGeom prst="straightConnector1">
            <a:avLst/>
          </a:prstGeom>
          <a:noFill/>
          <a:ln w="101600" cap="flat" cmpd="sng">
            <a:solidFill>
              <a:srgbClr val="FFFF00"/>
            </a:solidFill>
            <a:prstDash val="solid"/>
            <a:miter lim="800000"/>
            <a:headEnd type="triangle" w="med" len="med"/>
            <a:tailEnd type="none" w="med" len="med"/>
          </a:ln>
        </p:spPr>
      </p:cxnSp>
      <p:cxnSp>
        <p:nvCxnSpPr>
          <p:cNvPr id="342" name="Google Shape;342;p9"/>
          <p:cNvCxnSpPr/>
          <p:nvPr/>
        </p:nvCxnSpPr>
        <p:spPr>
          <a:xfrm rot="10800000">
            <a:off x="838200" y="3886200"/>
            <a:ext cx="0" cy="685800"/>
          </a:xfrm>
          <a:prstGeom prst="straightConnector1">
            <a:avLst/>
          </a:prstGeom>
          <a:noFill/>
          <a:ln w="101600" cap="flat" cmpd="sng">
            <a:solidFill>
              <a:srgbClr val="FFFF00"/>
            </a:solidFill>
            <a:prstDash val="solid"/>
            <a:miter lim="800000"/>
            <a:headEnd type="triangle" w="med" len="med"/>
            <a:tailEnd type="none" w="med" len="med"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5BBD52F-3AB9-4698-AE42-66260B33B119}"/>
              </a:ext>
            </a:extLst>
          </p:cNvPr>
          <p:cNvSpPr txBox="1"/>
          <p:nvPr/>
        </p:nvSpPr>
        <p:spPr>
          <a:xfrm>
            <a:off x="1082565" y="1981200"/>
            <a:ext cx="14045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2400" b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хання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C52F04-5AA4-48D8-9BEC-40EB3F088731}"/>
              </a:ext>
            </a:extLst>
          </p:cNvPr>
          <p:cNvSpPr txBox="1"/>
          <p:nvPr/>
        </p:nvSpPr>
        <p:spPr>
          <a:xfrm>
            <a:off x="1082565" y="3935916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2400" b="1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1F4B7C-52B5-484F-B293-BCFBD135B596}"/>
              </a:ext>
            </a:extLst>
          </p:cNvPr>
          <p:cNvSpPr txBox="1"/>
          <p:nvPr/>
        </p:nvSpPr>
        <p:spPr>
          <a:xfrm>
            <a:off x="2805823" y="1981200"/>
            <a:ext cx="22124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невмоторакс</a:t>
            </a:r>
            <a:endParaRPr lang="uk-UA" sz="2400" b="1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06C6B1-B58C-488F-96EF-3EA1D56BADE6}"/>
              </a:ext>
            </a:extLst>
          </p:cNvPr>
          <p:cNvSpPr txBox="1"/>
          <p:nvPr/>
        </p:nvSpPr>
        <p:spPr>
          <a:xfrm>
            <a:off x="2805823" y="3935916"/>
            <a:ext cx="24173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Негайна реанімація</a:t>
            </a:r>
            <a:endParaRPr lang="uk-UA" sz="2400" b="1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E1644D-61C4-4868-9D59-B52E50637587}"/>
              </a:ext>
            </a:extLst>
          </p:cNvPr>
          <p:cNvSpPr txBox="1"/>
          <p:nvPr/>
        </p:nvSpPr>
        <p:spPr>
          <a:xfrm>
            <a:off x="5740307" y="1981200"/>
            <a:ext cx="22601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600"/>
              <a:buFont typeface="Times New Roman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рудні трубки з обох сторін</a:t>
            </a:r>
            <a:endParaRPr lang="uk-UA" sz="2400">
              <a:solidFill>
                <a:schemeClr val="bg1"/>
              </a:solidFill>
              <a:ea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600"/>
              <a:buFont typeface="Times New Roman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Без рентгену</a:t>
            </a:r>
            <a:endParaRPr lang="uk-UA" sz="240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40296A-2E91-4FE5-A3D5-95EE7EB9B4BD}"/>
              </a:ext>
            </a:extLst>
          </p:cNvPr>
          <p:cNvSpPr txBox="1"/>
          <p:nvPr/>
        </p:nvSpPr>
        <p:spPr>
          <a:xfrm>
            <a:off x="2653045" y="5703276"/>
            <a:ext cx="38379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атримка </a:t>
            </a:r>
            <a:r>
              <a:rPr lang="uk-UA" sz="3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=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мерть</a:t>
            </a:r>
            <a:endParaRPr lang="uk-UA" sz="3200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FCC7317-0FDF-4AB5-B10B-3B3750E4ACD4}"/>
              </a:ext>
            </a:extLst>
          </p:cNvPr>
          <p:cNvSpPr txBox="1"/>
          <p:nvPr/>
        </p:nvSpPr>
        <p:spPr>
          <a:xfrm>
            <a:off x="5740307" y="3935916"/>
            <a:ext cx="24173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600"/>
              <a:buFont typeface="Arial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рудні трубки з обох сторін</a:t>
            </a:r>
            <a:endParaRPr lang="uk-UA" sz="2400">
              <a:solidFill>
                <a:schemeClr val="bg1"/>
              </a:solidFill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Times New Roman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Без рентгену</a:t>
            </a:r>
            <a:endParaRPr lang="uk-UA" sz="240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 descr="double laps.jpg                                                00070BADMacintosh HD                   B746699A:">
            <a:extLst>
              <a:ext uri="{FF2B5EF4-FFF2-40B4-BE49-F238E27FC236}">
                <a16:creationId xmlns:a16="http://schemas.microsoft.com/office/drawing/2014/main" id="{FFB3BC90-99AD-645A-6BEF-90F6B45969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304800"/>
            <a:ext cx="8434387" cy="632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A5A78C39-9595-5D4B-1C63-D1B779CACBE6}"/>
              </a:ext>
            </a:extLst>
          </p:cNvPr>
          <p:cNvSpPr txBox="1"/>
          <p:nvPr/>
        </p:nvSpPr>
        <p:spPr>
          <a:xfrm>
            <a:off x="8856264" y="6458631"/>
            <a:ext cx="136256" cy="2106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none" lIns="35719" tIns="35719" rIns="35719" bIns="35719" spcCol="38100" anchor="ctr">
            <a:spAutoFit/>
          </a:bodyPr>
          <a:lstStyle/>
          <a:p>
            <a:pPr defTabSz="410756">
              <a:defRPr/>
            </a:pPr>
            <a:r>
              <a:rPr lang="en-US" sz="900" dirty="0">
                <a:solidFill>
                  <a:srgbClr val="FF0000"/>
                </a:solidFill>
              </a:rPr>
              <a:t>3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41987" name="Chart 6">
            <a:extLst>
              <a:ext uri="{FF2B5EF4-FFF2-40B4-BE49-F238E27FC236}">
                <a16:creationId xmlns:a16="http://schemas.microsoft.com/office/drawing/2014/main" id="{9014C802-707E-E34A-3C5C-2D2BB03E5DE3}"/>
              </a:ext>
            </a:extLst>
          </p:cNvPr>
          <p:cNvGraphicFramePr>
            <a:graphicFrameLocks/>
          </p:cNvGraphicFramePr>
          <p:nvPr/>
        </p:nvGraphicFramePr>
        <p:xfrm>
          <a:off x="5735638" y="2379663"/>
          <a:ext cx="3173412" cy="3257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3" imgW="3182388" imgH="3261643" progId="Excel.Chart.8">
                  <p:embed/>
                </p:oleObj>
              </mc:Choice>
              <mc:Fallback>
                <p:oleObj name="Chart" r:id="rId3" imgW="3182388" imgH="3261643" progId="Excel.Chart.8">
                  <p:embed/>
                  <p:pic>
                    <p:nvPicPr>
                      <p:cNvPr id="41987" name="Chart 6">
                        <a:extLst>
                          <a:ext uri="{FF2B5EF4-FFF2-40B4-BE49-F238E27FC236}">
                            <a16:creationId xmlns:a16="http://schemas.microsoft.com/office/drawing/2014/main" id="{9014C802-707E-E34A-3C5C-2D2BB03E5DE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35638" y="2379663"/>
                        <a:ext cx="3173412" cy="32575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03B6EF7-B3BE-ABF0-F584-28B489510FFB}"/>
              </a:ext>
            </a:extLst>
          </p:cNvPr>
          <p:cNvSpPr/>
          <p:nvPr/>
        </p:nvSpPr>
        <p:spPr>
          <a:xfrm>
            <a:off x="0" y="1271588"/>
            <a:ext cx="9155113" cy="565467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3200" dirty="0"/>
          </a:p>
        </p:txBody>
      </p:sp>
      <p:pic>
        <p:nvPicPr>
          <p:cNvPr id="37" name="0F88E1F4-43C1-4FCD-94C2-D3CA51EFBF40" descr="99C90076-450A-4FEB-9414-94C1EF094CF4@attlocal">
            <a:extLst>
              <a:ext uri="{FF2B5EF4-FFF2-40B4-BE49-F238E27FC236}">
                <a16:creationId xmlns:a16="http://schemas.microsoft.com/office/drawing/2014/main" id="{22605915-7A50-8CF8-3289-A0E49051A9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69913" y="323850"/>
            <a:ext cx="3000375" cy="865188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41990" name="TextBox 9">
            <a:extLst>
              <a:ext uri="{FF2B5EF4-FFF2-40B4-BE49-F238E27FC236}">
                <a16:creationId xmlns:a16="http://schemas.microsoft.com/office/drawing/2014/main" id="{7D27C642-E6F9-6311-2DD9-A62FFFB0AD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44952" y="5908645"/>
            <a:ext cx="537358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uk-UA" sz="2000" dirty="0">
                <a:solidFill>
                  <a:schemeClr val="bg1"/>
                </a:solidFill>
              </a:rPr>
              <a:t>РЯТУЙТЕ ЖИТТЯ ДІТЕЙ ТОЧНО СВОЄЧНО</a:t>
            </a:r>
            <a:endParaRPr lang="en-US" altLang="en-US" sz="2000" i="1" dirty="0">
              <a:solidFill>
                <a:schemeClr val="bg1"/>
              </a:solidFill>
              <a:latin typeface="Helvetica" panose="020B0604020202020204" pitchFamily="34" charset="0"/>
            </a:endParaRPr>
          </a:p>
        </p:txBody>
      </p:sp>
      <p:pic>
        <p:nvPicPr>
          <p:cNvPr id="41991" name="Picture 1" descr="page1image66086656">
            <a:extLst>
              <a:ext uri="{FF2B5EF4-FFF2-40B4-BE49-F238E27FC236}">
                <a16:creationId xmlns:a16="http://schemas.microsoft.com/office/drawing/2014/main" id="{30CEDA13-3E10-97DE-CCFB-5C28141AF1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575" y="1797050"/>
            <a:ext cx="7742238" cy="366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6E505C0-D6FC-A93B-AA68-0864CBF55079}"/>
              </a:ext>
            </a:extLst>
          </p:cNvPr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569913" y="4559300"/>
            <a:ext cx="1665287" cy="1665288"/>
          </a:xfrm>
          <a:prstGeom prst="rect">
            <a:avLst/>
          </a:prstGeom>
          <a:effectLst>
            <a:outerShdw blurRad="190500" dist="38100" dir="4740000" sx="109000" sy="109000" algn="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>
            <a:extLst>
              <a:ext uri="{FF2B5EF4-FFF2-40B4-BE49-F238E27FC236}">
                <a16:creationId xmlns:a16="http://schemas.microsoft.com/office/drawing/2014/main" id="{3F1C7C0F-C8B9-C934-4FE0-2FD00178C0C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524000" y="274638"/>
            <a:ext cx="5791200" cy="877887"/>
          </a:xfrm>
        </p:spPr>
        <p:txBody>
          <a:bodyPr/>
          <a:lstStyle/>
          <a:p>
            <a:pPr eaLnBrk="1" hangingPunct="1"/>
            <a:r>
              <a:rPr lang="uk-UA" sz="3600" b="1" dirty="0">
                <a:solidFill>
                  <a:srgbClr val="F2F2F2"/>
                </a:solidFill>
              </a:rPr>
              <a:t>Вибухова травма</a:t>
            </a:r>
            <a:endParaRPr lang="pt-BR" altLang="pt-BR" sz="3600" b="1" dirty="0">
              <a:solidFill>
                <a:schemeClr val="bg1"/>
              </a:solidFill>
            </a:endParaRPr>
          </a:p>
        </p:txBody>
      </p:sp>
      <p:pic>
        <p:nvPicPr>
          <p:cNvPr id="44035" name="Content Placeholder 3">
            <a:extLst>
              <a:ext uri="{FF2B5EF4-FFF2-40B4-BE49-F238E27FC236}">
                <a16:creationId xmlns:a16="http://schemas.microsoft.com/office/drawing/2014/main" id="{5717A7CC-BB68-6140-BB5B-7A011A58B40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B10CCF6-E110-4190-9DAB-86D6A0D5F0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298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B10CCF6-E110-4190-9DAB-86D6A0D5F0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7" name="Google Shape;347;p10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олова</a:t>
            </a:r>
            <a:endParaRPr lang="uk-UA">
              <a:solidFill>
                <a:schemeClr val="bg1"/>
              </a:solidFill>
            </a:endParaRPr>
          </a:p>
        </p:txBody>
      </p:sp>
      <p:cxnSp>
        <p:nvCxnSpPr>
          <p:cNvPr id="348" name="Google Shape;348;p10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349" name="Google Shape;349;p10"/>
          <p:cNvSpPr txBox="1"/>
          <p:nvPr/>
        </p:nvSpPr>
        <p:spPr>
          <a:xfrm>
            <a:off x="673100" y="1835843"/>
            <a:ext cx="2603500" cy="3413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Етіологія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Т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400" b="1" i="0" u="none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кладність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400" b="1" i="0" u="none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АТ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400" b="1" i="0" u="none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Хірургія</a:t>
            </a:r>
            <a:endParaRPr lang="uk-UA" sz="2400"/>
          </a:p>
        </p:txBody>
      </p:sp>
      <p:sp>
        <p:nvSpPr>
          <p:cNvPr id="5" name="Google Shape;349;p10">
            <a:extLst>
              <a:ext uri="{FF2B5EF4-FFF2-40B4-BE49-F238E27FC236}">
                <a16:creationId xmlns:a16="http://schemas.microsoft.com/office/drawing/2014/main" id="{12947758-094F-44D1-AA9B-0F7CB6BFBC7B}"/>
              </a:ext>
            </a:extLst>
          </p:cNvPr>
          <p:cNvSpPr txBox="1"/>
          <p:nvPr/>
        </p:nvSpPr>
        <p:spPr>
          <a:xfrm>
            <a:off x="3848100" y="1835843"/>
            <a:ext cx="5016500" cy="4152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 i="0" u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Баротравма,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роникаюча рана</a:t>
            </a:r>
            <a:endParaRPr lang="uk-UA" sz="2400">
              <a:solidFill>
                <a:schemeClr val="bg1"/>
              </a:solidFill>
              <a:ea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400" b="1" i="0" u="none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ірше, ніж виглядає</a:t>
            </a:r>
            <a:endParaRPr lang="uk-UA" sz="240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None/>
            </a:pPr>
            <a:endParaRPr lang="uk-UA" sz="2400" b="1" i="0" u="none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Відкладений набряк</a:t>
            </a:r>
            <a:r>
              <a:rPr lang="uk-UA" sz="2400" b="1" i="0" u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48-72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од</a:t>
            </a:r>
            <a:endParaRPr lang="uk-UA" sz="240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None/>
            </a:pPr>
            <a:endParaRPr lang="uk-UA" sz="2400" b="1" i="0" u="none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ЦПТ</a:t>
            </a:r>
            <a:r>
              <a:rPr lang="uk-UA" sz="2400" b="1" i="0" u="none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– </a:t>
            </a: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ідтримувати</a:t>
            </a:r>
            <a:endParaRPr lang="uk-UA" sz="240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None/>
            </a:pPr>
            <a:endParaRPr lang="uk-UA" sz="2400" b="1" i="0" u="none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раніектомія</a:t>
            </a:r>
            <a:endParaRPr lang="uk-UA" sz="240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Times New Roman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уральне розширення</a:t>
            </a:r>
            <a:endParaRPr lang="uk-UA" sz="240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Times New Roman"/>
              <a:buNone/>
            </a:pPr>
            <a:r>
              <a:rPr lang="uk-UA" sz="2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ромивання</a:t>
            </a:r>
            <a:endParaRPr lang="uk-UA" sz="240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857945-A0CA-4486-82E0-B670A0604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03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857945-A0CA-4486-82E0-B670A0604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5" name="Google Shape;275;p2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Times New Roman"/>
              <a:buNone/>
            </a:pPr>
            <a:r>
              <a:rPr lang="uk-UA" sz="5400" b="1">
                <a:solidFill>
                  <a:schemeClr val="lt1"/>
                </a:solidFill>
              </a:rPr>
              <a:t>Національний дитячий медичний центр</a:t>
            </a:r>
            <a:endParaRPr lang="uk-UA"/>
          </a:p>
        </p:txBody>
      </p:sp>
      <p:pic>
        <p:nvPicPr>
          <p:cNvPr id="276" name="Google Shape;276;p2" descr="hospital"/>
          <p:cNvPicPr preferRelativeResize="0"/>
          <p:nvPr/>
        </p:nvPicPr>
        <p:blipFill rotWithShape="1">
          <a:blip r:embed="rId6">
            <a:alphaModFix/>
          </a:blip>
          <a:srcRect t="4090"/>
          <a:stretch/>
        </p:blipFill>
        <p:spPr>
          <a:xfrm>
            <a:off x="1676400" y="2185987"/>
            <a:ext cx="5918200" cy="420528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77" name="Google Shape;277;p2"/>
          <p:cNvCxnSpPr/>
          <p:nvPr/>
        </p:nvCxnSpPr>
        <p:spPr>
          <a:xfrm>
            <a:off x="15875" y="1978025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B477DAA-617C-4AE0-98A5-3C0A9E185D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069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B477DAA-617C-4AE0-98A5-3C0A9E185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4" name="Google Shape;354;p11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en-US" sz="5400" b="1" i="0" u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5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Реанімація</a:t>
            </a:r>
            <a:endParaRPr lang="uk-UA" dirty="0">
              <a:solidFill>
                <a:schemeClr val="bg1"/>
              </a:solidFill>
            </a:endParaRPr>
          </a:p>
        </p:txBody>
      </p:sp>
      <p:cxnSp>
        <p:nvCxnSpPr>
          <p:cNvPr id="355" name="Google Shape;355;p11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356" name="Google Shape;356;p11"/>
          <p:cNvSpPr txBox="1"/>
          <p:nvPr/>
        </p:nvSpPr>
        <p:spPr>
          <a:xfrm>
            <a:off x="698500" y="1715600"/>
            <a:ext cx="7797800" cy="501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іпертонічний розчин</a:t>
            </a:r>
            <a:r>
              <a:rPr lang="uk-UA" sz="3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– 3%</a:t>
            </a:r>
            <a:endParaRPr lang="uk-UA" dirty="0">
              <a:solidFill>
                <a:schemeClr val="bg1"/>
              </a:solidFill>
            </a:endParaRPr>
          </a:p>
          <a:p>
            <a: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</a:pP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r>
              <a:rPr lang="uk-UA" sz="32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1 </a:t>
            </a:r>
            <a:r>
              <a:rPr lang="uk-UA" sz="32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м3</a:t>
            </a:r>
            <a:r>
              <a:rPr lang="uk-UA" sz="32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/</a:t>
            </a:r>
            <a:r>
              <a:rPr lang="uk-UA" sz="32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г</a:t>
            </a:r>
            <a:r>
              <a:rPr lang="uk-UA" sz="32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32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болюс</a:t>
            </a:r>
            <a:endParaRPr lang="uk-UA" dirty="0">
              <a:solidFill>
                <a:schemeClr val="bg1"/>
              </a:solidFill>
            </a:endParaRPr>
          </a:p>
          <a:p>
            <a: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</a:pPr>
            <a:r>
              <a:rPr lang="uk-UA" sz="32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≥ 145 </a:t>
            </a:r>
            <a:r>
              <a:rPr lang="uk-UA" sz="32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мекв</a:t>
            </a:r>
            <a:r>
              <a:rPr lang="uk-UA" sz="32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/</a:t>
            </a:r>
            <a:r>
              <a:rPr lang="uk-UA" sz="32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л</a:t>
            </a:r>
            <a:r>
              <a:rPr lang="uk-UA" sz="32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32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натрію в сироватці</a:t>
            </a: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Маннітол </a:t>
            </a:r>
            <a:r>
              <a:rPr lang="uk-UA" sz="3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–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остра грижа</a:t>
            </a:r>
            <a:endParaRPr lang="uk-UA" dirty="0">
              <a:solidFill>
                <a:schemeClr val="bg1"/>
              </a:solidFill>
            </a:endParaRPr>
          </a:p>
          <a:p>
            <a: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</a:pPr>
            <a:r>
              <a:rPr lang="uk-UA" sz="32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 0.25-1 </a:t>
            </a:r>
            <a:r>
              <a:rPr lang="uk-UA" sz="32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мг</a:t>
            </a:r>
            <a:r>
              <a:rPr lang="uk-UA" sz="32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/</a:t>
            </a:r>
            <a:r>
              <a:rPr lang="uk-UA" sz="32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г</a:t>
            </a:r>
            <a:r>
              <a:rPr lang="uk-UA" sz="16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endParaRPr lang="uk-UA" dirty="0">
              <a:solidFill>
                <a:schemeClr val="bg1"/>
              </a:solidFill>
            </a:endParaRPr>
          </a:p>
          <a:p>
            <a: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None/>
            </a:pPr>
            <a:r>
              <a:rPr lang="uk-UA" sz="32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&lt; 320 </a:t>
            </a:r>
            <a:r>
              <a:rPr lang="uk-UA" sz="32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осмолярність плазми</a:t>
            </a:r>
            <a:endParaRPr lang="uk-UA" sz="1600" b="0" i="0" u="none" strike="noStrike" cap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lang="uk-UA" sz="3200" b="0" i="0" u="none" strike="noStrike" cap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раніектомія </a:t>
            </a:r>
            <a:r>
              <a:rPr lang="uk-UA" sz="3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–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Рання</a:t>
            </a:r>
            <a:r>
              <a:rPr lang="uk-UA" sz="3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   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ВЧТ</a:t>
            </a:r>
            <a:endParaRPr lang="uk-UA" sz="32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3200" b="1" i="0" u="none" dirty="0">
              <a:solidFill>
                <a:schemeClr val="dk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cxnSp>
        <p:nvCxnSpPr>
          <p:cNvPr id="357" name="Google Shape;357;p11"/>
          <p:cNvCxnSpPr/>
          <p:nvPr/>
        </p:nvCxnSpPr>
        <p:spPr>
          <a:xfrm>
            <a:off x="5746318" y="5642622"/>
            <a:ext cx="0" cy="533400"/>
          </a:xfrm>
          <a:prstGeom prst="straightConnector1">
            <a:avLst/>
          </a:prstGeom>
          <a:noFill/>
          <a:ln w="82550" cap="flat" cmpd="sng">
            <a:solidFill>
              <a:schemeClr val="bg1"/>
            </a:solidFill>
            <a:prstDash val="solid"/>
            <a:miter lim="800000"/>
            <a:headEnd type="triangle" w="med" len="med"/>
            <a:tailEnd type="none" w="med" len="med"/>
          </a:ln>
        </p:spPr>
      </p:cxn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3yogswhead - azarow">
            <a:extLst>
              <a:ext uri="{FF2B5EF4-FFF2-40B4-BE49-F238E27FC236}">
                <a16:creationId xmlns:a16="http://schemas.microsoft.com/office/drawing/2014/main" id="{E27E882C-DEC1-2307-892F-FA4AD544E0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228600"/>
            <a:ext cx="8594725" cy="644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>
            <a:extLst>
              <a:ext uri="{FF2B5EF4-FFF2-40B4-BE49-F238E27FC236}">
                <a16:creationId xmlns:a16="http://schemas.microsoft.com/office/drawing/2014/main" id="{84C2DD10-400F-6AC0-8807-35490ECAC621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 lIns="92075" tIns="46038" rIns="92075" bIns="46038"/>
          <a:lstStyle/>
          <a:p>
            <a:pPr>
              <a:defRPr/>
            </a:pPr>
            <a:r>
              <a:rPr lang="uk-UA" sz="5400" dirty="0">
                <a:solidFill>
                  <a:schemeClr val="bg1"/>
                </a:solidFill>
              </a:rPr>
              <a:t>Вибух</a:t>
            </a:r>
            <a:endParaRPr lang="en-US" sz="54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50179" name="Picture 8" descr="hauser_michael">
            <a:extLst>
              <a:ext uri="{FF2B5EF4-FFF2-40B4-BE49-F238E27FC236}">
                <a16:creationId xmlns:a16="http://schemas.microsoft.com/office/drawing/2014/main" id="{B747A408-0C75-7F5A-FD9D-3EED6C3B05D0}"/>
              </a:ext>
            </a:extLst>
          </p:cNvPr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200" y="1943100"/>
            <a:ext cx="4038600" cy="4038600"/>
          </a:xfrm>
        </p:spPr>
      </p:pic>
      <p:pic>
        <p:nvPicPr>
          <p:cNvPr id="50180" name="Picture 9" descr="hauser_michael">
            <a:extLst>
              <a:ext uri="{FF2B5EF4-FFF2-40B4-BE49-F238E27FC236}">
                <a16:creationId xmlns:a16="http://schemas.microsoft.com/office/drawing/2014/main" id="{1E61A8F6-6FDA-7994-A2E9-72C2D4034AAA}"/>
              </a:ext>
            </a:extLst>
          </p:cNvPr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8200" y="1943100"/>
            <a:ext cx="4038600" cy="4038600"/>
          </a:xfr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Number Placeholder 6">
            <a:extLst>
              <a:ext uri="{FF2B5EF4-FFF2-40B4-BE49-F238E27FC236}">
                <a16:creationId xmlns:a16="http://schemas.microsoft.com/office/drawing/2014/main" id="{98856CD7-488F-2D5B-8F53-B303426D29A4}"/>
              </a:ext>
            </a:extLst>
          </p:cNvPr>
          <p:cNvSpPr txBox="1">
            <a:spLocks noGrp="1"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3B407D41-9C16-4B5D-B267-462251E01CE2}" type="slidenum">
              <a:rPr lang="en-US" altLang="pt-BR" sz="1400"/>
              <a:pPr algn="r" eaLnBrk="1" hangingPunct="1">
                <a:spcBef>
                  <a:spcPct val="0"/>
                </a:spcBef>
                <a:buFontTx/>
                <a:buNone/>
              </a:pPr>
              <a:t>23</a:t>
            </a:fld>
            <a:endParaRPr lang="en-US" altLang="pt-BR" sz="1400"/>
          </a:p>
        </p:txBody>
      </p:sp>
      <p:pic>
        <p:nvPicPr>
          <p:cNvPr id="52227" name="Picture 4" descr="Opening">
            <a:extLst>
              <a:ext uri="{FF2B5EF4-FFF2-40B4-BE49-F238E27FC236}">
                <a16:creationId xmlns:a16="http://schemas.microsoft.com/office/drawing/2014/main" id="{6E479FF9-56B1-8165-A03C-263F4ADF2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3" y="228600"/>
            <a:ext cx="8453437" cy="624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2C57EE8-BE6A-4F86-B0D3-135E95BB4E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881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2C57EE8-BE6A-4F86-B0D3-135E95BB4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2" name="Google Shape;362;p12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 i="0" u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5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Легені</a:t>
            </a:r>
            <a:endParaRPr lang="uk-UA" dirty="0">
              <a:solidFill>
                <a:schemeClr val="bg1"/>
              </a:solidFill>
            </a:endParaRPr>
          </a:p>
        </p:txBody>
      </p:sp>
      <p:cxnSp>
        <p:nvCxnSpPr>
          <p:cNvPr id="363" name="Google Shape;363;p12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364" name="Google Shape;364;p12"/>
          <p:cNvSpPr txBox="1"/>
          <p:nvPr/>
        </p:nvSpPr>
        <p:spPr>
          <a:xfrm>
            <a:off x="457200" y="1828800"/>
            <a:ext cx="3136900" cy="3783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r>
              <a:rPr lang="uk-UA" sz="2400" b="1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Етіологія</a:t>
            </a:r>
            <a:r>
              <a:rPr lang="uk-UA" sz="2400" b="1" i="0" u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		</a:t>
            </a:r>
            <a:endParaRPr lang="en-US" sz="2400" b="1" i="0" u="none" dirty="0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endParaRPr lang="uk-UA" sz="2400" b="1" i="0" u="none" dirty="0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r>
              <a:rPr lang="uk-UA" sz="2400" b="1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Вентиляція з тиском</a:t>
            </a:r>
            <a:endParaRPr lang="en-US" sz="2400" b="1" dirty="0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r>
              <a:rPr lang="uk-UA" sz="2400" b="1" i="0" u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endParaRPr lang="en-US" sz="2400" b="1" dirty="0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endParaRPr lang="en-US" sz="2400" b="1" dirty="0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endParaRPr lang="en-US" sz="2400" b="1" dirty="0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endParaRPr lang="en-US" sz="2400" b="1" dirty="0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r>
              <a:rPr lang="uk-UA" sz="2400" b="1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Осциляція</a:t>
            </a:r>
            <a:endParaRPr lang="uk-UA" sz="2400" dirty="0"/>
          </a:p>
        </p:txBody>
      </p:sp>
      <p:cxnSp>
        <p:nvCxnSpPr>
          <p:cNvPr id="365" name="Google Shape;365;p12"/>
          <p:cNvCxnSpPr/>
          <p:nvPr/>
        </p:nvCxnSpPr>
        <p:spPr>
          <a:xfrm>
            <a:off x="4341930" y="5078487"/>
            <a:ext cx="0" cy="533400"/>
          </a:xfrm>
          <a:prstGeom prst="straightConnector1">
            <a:avLst/>
          </a:prstGeom>
          <a:noFill/>
          <a:ln w="82550" cap="flat" cmpd="sng">
            <a:solidFill>
              <a:schemeClr val="bg1"/>
            </a:solidFill>
            <a:prstDash val="solid"/>
            <a:miter lim="800000"/>
            <a:headEnd type="triangle" w="med" len="med"/>
            <a:tailEnd type="none" w="med" len="med"/>
          </a:ln>
        </p:spPr>
      </p:cxnSp>
      <p:sp>
        <p:nvSpPr>
          <p:cNvPr id="7" name="Google Shape;364;p12">
            <a:extLst>
              <a:ext uri="{FF2B5EF4-FFF2-40B4-BE49-F238E27FC236}">
                <a16:creationId xmlns:a16="http://schemas.microsoft.com/office/drawing/2014/main" id="{EDE4B8AB-8826-47FF-92A7-EBC4B024A90F}"/>
              </a:ext>
            </a:extLst>
          </p:cNvPr>
          <p:cNvSpPr txBox="1"/>
          <p:nvPr/>
        </p:nvSpPr>
        <p:spPr>
          <a:xfrm>
            <a:off x="4216401" y="1828800"/>
            <a:ext cx="4851399" cy="37830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Набряк</a:t>
            </a:r>
            <a:r>
              <a:rPr lang="uk-UA" sz="24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, </a:t>
            </a: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ровотеча</a:t>
            </a:r>
            <a:r>
              <a:rPr lang="uk-UA" sz="24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, </a:t>
            </a: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альвеоліт</a:t>
            </a:r>
            <a:endParaRPr lang="uk-UA" sz="2400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None/>
            </a:pPr>
            <a:endParaRPr lang="uk-UA" sz="24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None/>
            </a:pPr>
            <a:endParaRPr lang="uk-UA" sz="24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ТКВ між </a:t>
            </a:r>
            <a:r>
              <a:rPr lang="uk-UA" sz="24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10 </a:t>
            </a: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і</a:t>
            </a:r>
            <a:r>
              <a:rPr lang="uk-UA" sz="24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15</a:t>
            </a:r>
            <a:endParaRPr lang="uk-UA" sz="2400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Times New Roman"/>
              <a:buNone/>
            </a:pP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ихальний об’єм</a:t>
            </a:r>
            <a:r>
              <a:rPr lang="uk-UA" sz="24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6-8 </a:t>
            </a: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мл</a:t>
            </a:r>
            <a:r>
              <a:rPr lang="uk-UA" sz="24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/</a:t>
            </a: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г</a:t>
            </a:r>
            <a:endParaRPr lang="uk-UA" sz="2400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Times New Roman"/>
              <a:buNone/>
            </a:pP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едація</a:t>
            </a:r>
            <a:endParaRPr lang="uk-UA" sz="2400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Times New Roman"/>
              <a:buNone/>
            </a:pP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Нервово-м’язова блокада</a:t>
            </a:r>
            <a:endParaRPr lang="uk-UA" sz="2400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None/>
            </a:pPr>
            <a:endParaRPr lang="uk-UA" sz="24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None/>
            </a:pPr>
            <a:endParaRPr lang="uk-UA" sz="24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2600"/>
              <a:buFont typeface="Times New Roman"/>
              <a:buNone/>
            </a:pPr>
            <a:r>
              <a:rPr lang="en-US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    </a:t>
            </a: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Тиск</a:t>
            </a:r>
            <a:r>
              <a:rPr lang="uk-UA" sz="24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</a:t>
            </a:r>
            <a:r>
              <a:rPr lang="uk-UA" sz="2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упинка кровотечі</a:t>
            </a:r>
            <a:r>
              <a:rPr lang="uk-UA" sz="2400" b="1" i="0" u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uk-UA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Picture 3" descr="case1-4">
            <a:extLst>
              <a:ext uri="{FF2B5EF4-FFF2-40B4-BE49-F238E27FC236}">
                <a16:creationId xmlns:a16="http://schemas.microsoft.com/office/drawing/2014/main" id="{93BB4F1F-57CE-8B9B-60DA-A1D58746C0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75" y="769938"/>
            <a:ext cx="7840663" cy="531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Picture 3" descr="case1-8">
            <a:extLst>
              <a:ext uri="{FF2B5EF4-FFF2-40B4-BE49-F238E27FC236}">
                <a16:creationId xmlns:a16="http://schemas.microsoft.com/office/drawing/2014/main" id="{653F58D5-C033-E41C-B661-861F2906E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4488" y="690563"/>
            <a:ext cx="5913437" cy="547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Picture 3" descr="case1-9">
            <a:extLst>
              <a:ext uri="{FF2B5EF4-FFF2-40B4-BE49-F238E27FC236}">
                <a16:creationId xmlns:a16="http://schemas.microsoft.com/office/drawing/2014/main" id="{A812343F-F0C2-1BB8-6BAE-97EEFADB7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300" y="739775"/>
            <a:ext cx="4597400" cy="537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6" name="Picture 1">
            <a:extLst>
              <a:ext uri="{FF2B5EF4-FFF2-40B4-BE49-F238E27FC236}">
                <a16:creationId xmlns:a16="http://schemas.microsoft.com/office/drawing/2014/main" id="{9532307E-C184-4CD4-A295-AEA8A3BC5F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3900" y="0"/>
            <a:ext cx="51435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A9A173-2F76-4D49-B6CA-19725FFEA0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34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A9A173-2F76-4D49-B6CA-19725FFEA0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" name="Google Shape;370;p13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ошкодження легень</a:t>
            </a:r>
            <a:endParaRPr lang="uk-UA" dirty="0">
              <a:solidFill>
                <a:schemeClr val="bg1"/>
              </a:solidFill>
            </a:endParaRPr>
          </a:p>
        </p:txBody>
      </p:sp>
      <p:cxnSp>
        <p:nvCxnSpPr>
          <p:cNvPr id="371" name="Google Shape;371;p13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372" name="Google Shape;372;p13"/>
          <p:cNvSpPr txBox="1"/>
          <p:nvPr/>
        </p:nvSpPr>
        <p:spPr>
          <a:xfrm>
            <a:off x="990600" y="1981200"/>
            <a:ext cx="7162800" cy="384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3200" b="1" u="sng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апізнілий прояв</a:t>
            </a:r>
            <a:endParaRPr lang="uk-UA" sz="2800" b="1" i="0" u="sng" dirty="0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ервинна травма - баротравма</a:t>
            </a:r>
            <a:r>
              <a:rPr lang="uk-UA" sz="3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279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lang="uk-UA" sz="28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Вдихання</a:t>
            </a:r>
            <a:r>
              <a:rPr lang="uk-UA" sz="3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им</a:t>
            </a:r>
            <a:r>
              <a:rPr lang="uk-UA" sz="3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,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отруйні хімікати</a:t>
            </a:r>
            <a:endParaRPr lang="uk-UA" sz="32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279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lang="uk-UA" sz="28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Масова ресусцитація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2794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lang="uk-UA" sz="28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Times New Roman"/>
              <a:buChar char="•"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ереливання </a:t>
            </a:r>
            <a:r>
              <a:rPr lang="uk-UA" sz="3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–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родукти крові</a:t>
            </a:r>
            <a:endParaRPr lang="uk-UA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BB7026-1D95-41ED-9A01-CD8B607C6A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478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BB7026-1D95-41ED-9A01-CD8B607C6A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2" name="Google Shape;282;p3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Фізіологія</a:t>
            </a:r>
            <a:endParaRPr lang="uk-UA">
              <a:solidFill>
                <a:schemeClr val="bg1"/>
              </a:solidFill>
            </a:endParaRPr>
          </a:p>
        </p:txBody>
      </p:sp>
      <p:cxnSp>
        <p:nvCxnSpPr>
          <p:cNvPr id="283" name="Google Shape;283;p3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284" name="Google Shape;284;p3"/>
          <p:cNvSpPr txBox="1"/>
          <p:nvPr/>
        </p:nvSpPr>
        <p:spPr>
          <a:xfrm>
            <a:off x="829559" y="1600200"/>
            <a:ext cx="7715041" cy="40293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32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Уникнення</a:t>
            </a:r>
            <a:r>
              <a:rPr lang="uk-UA" sz="3200" b="1" i="0" u="none" strike="noStrike" cap="none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</a:t>
            </a:r>
            <a:r>
              <a:rPr lang="uk-UA" sz="3200" b="1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	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3200" b="1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3200" b="1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3200" b="1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32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Реанімація</a:t>
            </a:r>
            <a:r>
              <a:rPr lang="uk-UA" sz="3200" b="1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r>
              <a:rPr lang="uk-UA" sz="3200" b="1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3200" b="1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3200" b="1">
              <a:solidFill>
                <a:srgbClr val="FFFF00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3200" b="1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Результат</a:t>
            </a:r>
            <a:r>
              <a:rPr lang="uk-UA" sz="3200" b="1" i="0" u="none" strike="noStrike" cap="none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	</a:t>
            </a:r>
            <a:endParaRPr lang="uk-UA"/>
          </a:p>
        </p:txBody>
      </p:sp>
      <p:cxnSp>
        <p:nvCxnSpPr>
          <p:cNvPr id="285" name="Google Shape;285;p3"/>
          <p:cNvCxnSpPr/>
          <p:nvPr/>
        </p:nvCxnSpPr>
        <p:spPr>
          <a:xfrm rot="10800000">
            <a:off x="4103354" y="5629508"/>
            <a:ext cx="0" cy="533400"/>
          </a:xfrm>
          <a:prstGeom prst="straightConnector1">
            <a:avLst/>
          </a:prstGeom>
          <a:noFill/>
          <a:ln w="82550" cap="flat" cmpd="sng">
            <a:solidFill>
              <a:schemeClr val="bg1"/>
            </a:solidFill>
            <a:prstDash val="solid"/>
            <a:miter lim="800000"/>
            <a:headEnd type="triangle" w="med" len="med"/>
            <a:tailEnd type="none" w="med" len="med"/>
          </a:ln>
        </p:spPr>
      </p:cxnSp>
      <p:sp>
        <p:nvSpPr>
          <p:cNvPr id="7" name="Google Shape;284;p3">
            <a:extLst>
              <a:ext uri="{FF2B5EF4-FFF2-40B4-BE49-F238E27FC236}">
                <a16:creationId xmlns:a16="http://schemas.microsoft.com/office/drawing/2014/main" id="{E17C6338-6383-47FC-8BC0-5D7CE14BB507}"/>
              </a:ext>
            </a:extLst>
          </p:cNvPr>
          <p:cNvSpPr txBox="1"/>
          <p:nvPr/>
        </p:nvSpPr>
        <p:spPr>
          <a:xfrm>
            <a:off x="3906680" y="1600200"/>
            <a:ext cx="4637920" cy="50141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іпотермії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Ацидозу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іпокоагуляції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lang="uk-UA" sz="3200" b="1" i="0" u="none" strike="noStrike" cap="none" dirty="0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1.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упинити кровотечу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2. Контроль травм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и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endParaRPr lang="uk-UA" sz="3200" b="1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Менше рідини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  в легенях, рані</a:t>
            </a:r>
            <a:r>
              <a:rPr lang="uk-UA" sz="2800" b="1" i="0" u="none" strike="noStrike" cap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r>
              <a:rPr lang="uk-UA" sz="3200" b="1" i="0" u="none" strike="noStrike" cap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endParaRPr lang="uk-UA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2" name="Picture 1">
            <a:extLst>
              <a:ext uri="{FF2B5EF4-FFF2-40B4-BE49-F238E27FC236}">
                <a16:creationId xmlns:a16="http://schemas.microsoft.com/office/drawing/2014/main" id="{234D3E57-5D77-7091-AA12-9C43AC4820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7825" y="0"/>
            <a:ext cx="9763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0" name="Picture 1">
            <a:extLst>
              <a:ext uri="{FF2B5EF4-FFF2-40B4-BE49-F238E27FC236}">
                <a16:creationId xmlns:a16="http://schemas.microsoft.com/office/drawing/2014/main" id="{02A25463-C33C-87F6-4245-37927329A6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38425"/>
            <a:ext cx="9144000" cy="421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1" name="Picture 1">
            <a:extLst>
              <a:ext uri="{FF2B5EF4-FFF2-40B4-BE49-F238E27FC236}">
                <a16:creationId xmlns:a16="http://schemas.microsoft.com/office/drawing/2014/main" id="{7189A4AB-B68D-AA39-382E-617A114D05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000375" cy="368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>
            <a:extLst>
              <a:ext uri="{FF2B5EF4-FFF2-40B4-BE49-F238E27FC236}">
                <a16:creationId xmlns:a16="http://schemas.microsoft.com/office/drawing/2014/main" id="{8EEF1DB1-78FF-11F7-0AD4-2C08535BF4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5900" y="444500"/>
            <a:ext cx="6159500" cy="595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6" name="Picture 1">
            <a:extLst>
              <a:ext uri="{FF2B5EF4-FFF2-40B4-BE49-F238E27FC236}">
                <a16:creationId xmlns:a16="http://schemas.microsoft.com/office/drawing/2014/main" id="{44E9F3DF-4597-7093-C69A-526CA8E9CA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38163" y="-19050"/>
            <a:ext cx="10002838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Picture 2" descr="case1-1">
            <a:extLst>
              <a:ext uri="{FF2B5EF4-FFF2-40B4-BE49-F238E27FC236}">
                <a16:creationId xmlns:a16="http://schemas.microsoft.com/office/drawing/2014/main" id="{0213398D-85E1-BB70-479B-8AC2051EEA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100" y="746125"/>
            <a:ext cx="3987800" cy="536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2" descr="pneumoperitoneum AXR">
            <a:extLst>
              <a:ext uri="{FF2B5EF4-FFF2-40B4-BE49-F238E27FC236}">
                <a16:creationId xmlns:a16="http://schemas.microsoft.com/office/drawing/2014/main" id="{BDFFE5B3-9FD3-11D6-0592-3D70009A7B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663" y="722313"/>
            <a:ext cx="8194675" cy="541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2" descr="case1-12">
            <a:extLst>
              <a:ext uri="{FF2B5EF4-FFF2-40B4-BE49-F238E27FC236}">
                <a16:creationId xmlns:a16="http://schemas.microsoft.com/office/drawing/2014/main" id="{ACEFC532-4C5D-8B3C-3280-1AAD5FDC26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0963" y="746125"/>
            <a:ext cx="3902075" cy="536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39D93B-4A09-4378-88A5-1B79B9CD44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330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39D93B-4A09-4378-88A5-1B79B9CD4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7" name="Google Shape;377;p14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4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Черевна порожнина </a:t>
            </a:r>
            <a:r>
              <a:rPr lang="uk-UA" sz="4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- </a:t>
            </a:r>
            <a:r>
              <a:rPr lang="uk-UA" sz="4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Основне</a:t>
            </a:r>
            <a:endParaRPr lang="uk-UA" sz="800" dirty="0">
              <a:solidFill>
                <a:schemeClr val="bg1"/>
              </a:solidFill>
            </a:endParaRPr>
          </a:p>
        </p:txBody>
      </p:sp>
      <p:cxnSp>
        <p:nvCxnSpPr>
          <p:cNvPr id="378" name="Google Shape;378;p14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379" name="Google Shape;379;p14"/>
          <p:cNvSpPr txBox="1"/>
          <p:nvPr/>
        </p:nvSpPr>
        <p:spPr>
          <a:xfrm>
            <a:off x="584200" y="1940883"/>
            <a:ext cx="3949700" cy="41831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FAST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Т</a:t>
            </a:r>
            <a:r>
              <a:rPr lang="uk-UA" sz="36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олостомія </a:t>
            </a:r>
            <a:r>
              <a:rPr lang="uk-UA" sz="36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Ентероктомія</a:t>
            </a:r>
            <a:endParaRPr lang="uk-UA" sz="36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уоденально</a:t>
            </a:r>
            <a:r>
              <a:rPr lang="uk-UA" sz="36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	</a:t>
            </a:r>
            <a:endParaRPr lang="uk-UA" sz="3600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endParaRPr lang="uk-UA" sz="3600" dirty="0">
              <a:solidFill>
                <a:schemeClr val="bg1"/>
              </a:solidFill>
            </a:endParaRPr>
          </a:p>
        </p:txBody>
      </p:sp>
      <p:sp>
        <p:nvSpPr>
          <p:cNvPr id="5" name="Google Shape;379;p14">
            <a:extLst>
              <a:ext uri="{FF2B5EF4-FFF2-40B4-BE49-F238E27FC236}">
                <a16:creationId xmlns:a16="http://schemas.microsoft.com/office/drawing/2014/main" id="{BDE04051-0C25-4487-B822-A21BCA6C383D}"/>
              </a:ext>
            </a:extLst>
          </p:cNvPr>
          <p:cNvSpPr txBox="1"/>
          <p:nvPr/>
        </p:nvSpPr>
        <p:spPr>
          <a:xfrm>
            <a:off x="4940300" y="1940883"/>
            <a:ext cx="3009900" cy="4337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азвичай</a:t>
            </a:r>
            <a:endParaRPr lang="uk-UA" sz="36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Рідко</a:t>
            </a:r>
            <a:endParaRPr lang="uk-UA" sz="36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авжди</a:t>
            </a:r>
            <a:endParaRPr lang="uk-UA" sz="36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Ризиково</a:t>
            </a:r>
            <a:endParaRPr lang="uk-UA" sz="36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Винятково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Дренаж</a:t>
            </a:r>
            <a:endParaRPr lang="uk-UA" sz="3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946" name="Picture 4" descr="2572 IMG_0196">
            <a:extLst>
              <a:ext uri="{FF2B5EF4-FFF2-40B4-BE49-F238E27FC236}">
                <a16:creationId xmlns:a16="http://schemas.microsoft.com/office/drawing/2014/main" id="{AE695AA9-7875-F005-1E87-5A0388B83FA3}"/>
              </a:ext>
            </a:extLst>
          </p:cNvPr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04800" y="228600"/>
            <a:ext cx="8610600" cy="6459538"/>
          </a:xfrm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Text Box 2">
            <a:extLst>
              <a:ext uri="{FF2B5EF4-FFF2-40B4-BE49-F238E27FC236}">
                <a16:creationId xmlns:a16="http://schemas.microsoft.com/office/drawing/2014/main" id="{536A4034-D085-8437-A96E-4D6A472B6DCD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506413" y="0"/>
            <a:ext cx="7951787" cy="1049338"/>
          </a:xfrm>
        </p:spPr>
        <p:txBody>
          <a:bodyPr lIns="92075" tIns="46038" rIns="92075" bIns="46038"/>
          <a:lstStyle/>
          <a:p>
            <a:pPr eaLnBrk="1" hangingPunct="1">
              <a:spcBef>
                <a:spcPct val="50000"/>
              </a:spcBef>
            </a:pPr>
            <a:r>
              <a:rPr lang="uk-UA" dirty="0">
                <a:solidFill>
                  <a:schemeClr val="bg1"/>
                </a:solidFill>
              </a:rPr>
              <a:t>Закриття живота</a:t>
            </a:r>
            <a:endParaRPr lang="en-US" altLang="pt-BR" b="1" dirty="0">
              <a:solidFill>
                <a:schemeClr val="bg1"/>
              </a:solidFill>
            </a:endParaRPr>
          </a:p>
        </p:txBody>
      </p:sp>
      <p:pic>
        <p:nvPicPr>
          <p:cNvPr id="84995" name="Picture 4" descr="closed">
            <a:extLst>
              <a:ext uri="{FF2B5EF4-FFF2-40B4-BE49-F238E27FC236}">
                <a16:creationId xmlns:a16="http://schemas.microsoft.com/office/drawing/2014/main" id="{4B67B61E-A630-46B3-C3AF-A94BB60AA1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295400"/>
            <a:ext cx="4160838" cy="5164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13">
            <a:extLst>
              <a:ext uri="{FF2B5EF4-FFF2-40B4-BE49-F238E27FC236}">
                <a16:creationId xmlns:a16="http://schemas.microsoft.com/office/drawing/2014/main" id="{7416C027-78FF-E0A8-A255-8E53798CB7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12000"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762000"/>
            <a:ext cx="3563938" cy="533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7859853-3DE7-4B92-967A-5B7A3C937C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44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7859853-3DE7-4B92-967A-5B7A3C937C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4" name="Google Shape;384;p15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Кінцівки</a:t>
            </a:r>
            <a:endParaRPr lang="uk-UA">
              <a:solidFill>
                <a:schemeClr val="bg1"/>
              </a:solidFill>
            </a:endParaRPr>
          </a:p>
        </p:txBody>
      </p:sp>
      <p:cxnSp>
        <p:nvCxnSpPr>
          <p:cNvPr id="385" name="Google Shape;385;p15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386" name="Google Shape;386;p15"/>
          <p:cNvSpPr txBox="1"/>
          <p:nvPr/>
        </p:nvSpPr>
        <p:spPr>
          <a:xfrm>
            <a:off x="452761" y="1624474"/>
            <a:ext cx="3268339" cy="35368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Розтрощена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800" dirty="0"/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i="0" u="none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ORIF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i="0" u="none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r>
              <a:rPr lang="uk-UA" sz="2800" b="1" i="0" u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тегнова кістка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800" b="1" i="0" u="none" dirty="0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800" b="1" i="0" u="none" dirty="0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Верхня кінцівка</a:t>
            </a:r>
            <a:endParaRPr lang="uk-UA" sz="2800" dirty="0"/>
          </a:p>
        </p:txBody>
      </p:sp>
      <p:sp>
        <p:nvSpPr>
          <p:cNvPr id="6" name="Google Shape;386;p15">
            <a:extLst>
              <a:ext uri="{FF2B5EF4-FFF2-40B4-BE49-F238E27FC236}">
                <a16:creationId xmlns:a16="http://schemas.microsoft.com/office/drawing/2014/main" id="{C98402CE-7C02-4485-B717-E352FE254F4C}"/>
              </a:ext>
            </a:extLst>
          </p:cNvPr>
          <p:cNvSpPr txBox="1"/>
          <p:nvPr/>
        </p:nvSpPr>
        <p:spPr>
          <a:xfrm>
            <a:off x="4042730" y="1624474"/>
            <a:ext cx="5025070" cy="4829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Ампутувати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8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“</a:t>
            </a: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афіксувати</a:t>
            </a:r>
            <a:r>
              <a:rPr lang="uk-UA" sz="2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”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8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овнішня фіксація,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еревезення</a:t>
            </a: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endParaRPr lang="uk-UA" sz="28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овнішня фіксація</a:t>
            </a:r>
            <a:r>
              <a:rPr lang="uk-UA" sz="2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</a:t>
            </a: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тимчасово</a:t>
            </a:r>
            <a:endParaRPr lang="uk-UA" sz="2800" dirty="0">
              <a:solidFill>
                <a:schemeClr val="bg1"/>
              </a:solidFill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ластина</a:t>
            </a:r>
            <a:endParaRPr lang="uk-UA" sz="2800" dirty="0">
              <a:solidFill>
                <a:schemeClr val="bg1"/>
              </a:solidFill>
            </a:endParaRPr>
          </a:p>
          <a:p>
            <a: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28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рикриття м’яких тканин</a:t>
            </a:r>
            <a:endParaRPr lang="uk-UA" sz="2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090" name="Picture 2" descr="7yoIED - azarow">
            <a:extLst>
              <a:ext uri="{FF2B5EF4-FFF2-40B4-BE49-F238E27FC236}">
                <a16:creationId xmlns:a16="http://schemas.microsoft.com/office/drawing/2014/main" id="{1CDB6F25-DE9E-0C20-D1C4-BD995A7B60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685800"/>
            <a:ext cx="7696200" cy="577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138" name="Picture 2" descr="perineal blast injury - azarow">
            <a:extLst>
              <a:ext uri="{FF2B5EF4-FFF2-40B4-BE49-F238E27FC236}">
                <a16:creationId xmlns:a16="http://schemas.microsoft.com/office/drawing/2014/main" id="{7B1F65CF-628C-00A7-6048-6A60FA86E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457200"/>
            <a:ext cx="8061325" cy="604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>
            <a:extLst>
              <a:ext uri="{FF2B5EF4-FFF2-40B4-BE49-F238E27FC236}">
                <a16:creationId xmlns:a16="http://schemas.microsoft.com/office/drawing/2014/main" id="{693E7623-4A2C-F502-33B4-0881F957325E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533400" y="76200"/>
            <a:ext cx="8229600" cy="1143000"/>
          </a:xfrm>
        </p:spPr>
        <p:txBody>
          <a:bodyPr lIns="92075" tIns="46038" rIns="92075" bIns="46038"/>
          <a:lstStyle/>
          <a:p>
            <a:r>
              <a:rPr lang="uk-UA" sz="3600" dirty="0">
                <a:solidFill>
                  <a:schemeClr val="bg1"/>
                </a:solidFill>
              </a:rPr>
              <a:t>Травма м'яких тканин і кісток</a:t>
            </a:r>
            <a:endParaRPr lang="en-US" altLang="pt-BR" sz="3600" b="1" dirty="0">
              <a:solidFill>
                <a:schemeClr val="bg1"/>
              </a:solidFill>
            </a:endParaRPr>
          </a:p>
        </p:txBody>
      </p:sp>
      <p:pic>
        <p:nvPicPr>
          <p:cNvPr id="93187" name="Picture 3" descr="No vascular injury">
            <a:extLst>
              <a:ext uri="{FF2B5EF4-FFF2-40B4-BE49-F238E27FC236}">
                <a16:creationId xmlns:a16="http://schemas.microsoft.com/office/drawing/2014/main" id="{DDA576B0-16D0-7648-9295-BDA14359CC0E}"/>
              </a:ext>
            </a:extLst>
          </p:cNvPr>
          <p:cNvPicPr>
            <a:picLocks noGrp="1" noChangeAspect="1" noChangeArrowheads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200" y="1219200"/>
            <a:ext cx="8353425" cy="4987925"/>
          </a:xfr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234" name="Picture 9" descr="CIMG0050">
            <a:extLst>
              <a:ext uri="{FF2B5EF4-FFF2-40B4-BE49-F238E27FC236}">
                <a16:creationId xmlns:a16="http://schemas.microsoft.com/office/drawing/2014/main" id="{FBFB0311-C6F9-A556-C871-4397E0093B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8772525" cy="647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EAFE932-815F-4389-B8BB-BD03BF2E84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988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EAFE932-815F-4389-B8BB-BD03BF2E8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1" name="Google Shape;391;p16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Реабілітація</a:t>
            </a:r>
            <a:endParaRPr lang="uk-UA">
              <a:solidFill>
                <a:schemeClr val="bg1"/>
              </a:solidFill>
            </a:endParaRPr>
          </a:p>
        </p:txBody>
      </p:sp>
      <p:cxnSp>
        <p:nvCxnSpPr>
          <p:cNvPr id="392" name="Google Shape;392;p16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5" name="Picture 6" descr="Boy wthout j ft">
            <a:extLst>
              <a:ext uri="{FF2B5EF4-FFF2-40B4-BE49-F238E27FC236}">
                <a16:creationId xmlns:a16="http://schemas.microsoft.com/office/drawing/2014/main" id="{FA115886-5000-B694-BA08-2914E20F38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7852" y="1600200"/>
            <a:ext cx="2122488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Boy with Jft">
            <a:extLst>
              <a:ext uri="{FF2B5EF4-FFF2-40B4-BE49-F238E27FC236}">
                <a16:creationId xmlns:a16="http://schemas.microsoft.com/office/drawing/2014/main" id="{3F9C9FE4-9E57-586D-89D8-C3565C075B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1600200"/>
            <a:ext cx="1965325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0E710FE-FF13-4216-879D-67FAD83DD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361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0E710FE-FF13-4216-879D-67FAD83DD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7" name="Google Shape;397;p17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Опік</a:t>
            </a:r>
            <a:endParaRPr lang="uk-UA">
              <a:solidFill>
                <a:schemeClr val="bg1"/>
              </a:solidFill>
            </a:endParaRPr>
          </a:p>
        </p:txBody>
      </p:sp>
      <p:cxnSp>
        <p:nvCxnSpPr>
          <p:cNvPr id="398" name="Google Shape;398;p17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grpSp>
        <p:nvGrpSpPr>
          <p:cNvPr id="399" name="Google Shape;399;p17"/>
          <p:cNvGrpSpPr/>
          <p:nvPr/>
        </p:nvGrpSpPr>
        <p:grpSpPr>
          <a:xfrm>
            <a:off x="485775" y="1379537"/>
            <a:ext cx="8143875" cy="4937125"/>
            <a:chOff x="306" y="869"/>
            <a:chExt cx="5130" cy="3110"/>
          </a:xfrm>
        </p:grpSpPr>
        <p:sp>
          <p:nvSpPr>
            <p:cNvPr id="400" name="Google Shape;400;p17"/>
            <p:cNvSpPr txBox="1"/>
            <p:nvPr/>
          </p:nvSpPr>
          <p:spPr>
            <a:xfrm>
              <a:off x="336" y="869"/>
              <a:ext cx="5100" cy="31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0475" tIns="44450" rIns="90475" bIns="44450" anchor="t" anchorCtr="0">
              <a:spAutoFit/>
            </a:bodyPr>
            <a:lstStyle/>
            <a:p>
              <a:pPr marL="457200" marR="0" lvl="0" indent="-45720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Arial"/>
                <a:buNone/>
              </a:pPr>
              <a:endParaRPr lang="uk-UA" sz="18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  <a:p>
              <a:pPr marL="457200" marR="0" lvl="0" indent="-4572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Times New Roman"/>
                <a:buChar char="•"/>
              </a:pPr>
              <a:r>
                <a:rPr lang="uk-UA" sz="24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Шкала Ланда-Браудера</a:t>
              </a:r>
              <a:endParaRPr lang="uk-UA" sz="1200" dirty="0">
                <a:solidFill>
                  <a:schemeClr val="bg1"/>
                </a:solidFill>
              </a:endParaRPr>
            </a:p>
            <a:p>
              <a:pPr marL="457200" marR="0" lvl="0" indent="-3683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lang="uk-UA" sz="1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  <a:p>
              <a:pPr marL="457200" marR="0" lvl="0" indent="-4572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Times New Roman"/>
                <a:buChar char="•"/>
              </a:pPr>
              <a:r>
                <a:rPr lang="uk-UA" sz="24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Формула Паркланда</a:t>
              </a:r>
              <a:endParaRPr lang="uk-UA" sz="1200" dirty="0">
                <a:solidFill>
                  <a:schemeClr val="bg1"/>
                </a:solidFill>
              </a:endParaRPr>
            </a:p>
            <a:p>
              <a:pPr marL="457200" marR="0" lvl="0" indent="-3683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lang="uk-UA" sz="1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  <a:p>
              <a:pPr marL="457200" marR="0" lvl="0" indent="-4572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Times New Roman"/>
                <a:buNone/>
              </a:pPr>
              <a:r>
                <a:rPr lang="uk-UA" sz="1600" b="0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</a:t>
              </a:r>
              <a:r>
                <a:rPr lang="uk-UA" sz="2000" b="1" u="sng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Вага</a:t>
              </a:r>
              <a:r>
                <a:rPr lang="uk-UA" sz="2000" b="1" i="0" u="sng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(</a:t>
              </a:r>
              <a:r>
                <a:rPr lang="uk-UA" sz="2000" b="1" u="sng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кг</a:t>
              </a:r>
              <a:r>
                <a:rPr lang="uk-UA" sz="2000" b="1" i="0" u="sng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)</a:t>
              </a: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 x  </a:t>
              </a:r>
              <a:r>
                <a:rPr lang="uk-UA" sz="2000" b="1" i="0" u="sng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% </a:t>
              </a:r>
              <a:r>
                <a:rPr lang="uk-UA" sz="2000" b="1" u="sng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опіку</a:t>
              </a: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x  </a:t>
              </a:r>
              <a:r>
                <a:rPr lang="uk-UA" sz="2000" b="1" i="0" u="sng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2-4 </a:t>
              </a:r>
              <a:r>
                <a:rPr lang="uk-UA" sz="2000" b="1" u="sng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см3</a:t>
              </a: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 =  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Загальний об’єм</a:t>
              </a: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ЛР </a:t>
              </a: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24 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год</a:t>
              </a:r>
              <a:endParaRPr lang="uk-UA" sz="1100" dirty="0">
                <a:solidFill>
                  <a:schemeClr val="bg1"/>
                </a:solidFill>
              </a:endParaRPr>
            </a:p>
            <a:p>
              <a:pPr marL="457200" marR="0" lvl="0" indent="-4572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lang="uk-UA" sz="1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  <a:p>
              <a:pPr marL="1371600" marR="0" lvl="3" indent="-1524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Times New Roman"/>
                <a:buChar char="•"/>
              </a:pPr>
              <a:r>
                <a:rPr lang="uk-UA" sz="2000" b="0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</a:t>
              </a:r>
              <a:r>
                <a:rPr lang="uk-UA" sz="2000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Ввести </a:t>
              </a:r>
              <a:r>
                <a:rPr lang="uk-UA" sz="2000" b="0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1/2 </a:t>
              </a:r>
              <a:r>
                <a:rPr lang="uk-UA" sz="2000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загального об’єму протягом перших </a:t>
              </a:r>
              <a:r>
                <a:rPr lang="uk-UA" sz="2000" b="0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8 </a:t>
              </a:r>
              <a:r>
                <a:rPr lang="uk-UA" sz="2000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год</a:t>
              </a:r>
              <a:endParaRPr lang="uk-UA" sz="1200" dirty="0">
                <a:solidFill>
                  <a:schemeClr val="bg1"/>
                </a:solidFill>
              </a:endParaRPr>
            </a:p>
            <a:p>
              <a:pPr marL="1371600" marR="0" lvl="3" indent="-1524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Times New Roman"/>
                <a:buChar char="•"/>
              </a:pPr>
              <a:r>
                <a:rPr lang="uk-UA" sz="2000" b="0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</a:t>
              </a:r>
              <a:r>
                <a:rPr lang="uk-UA" sz="2000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Ввести решту </a:t>
              </a:r>
              <a:r>
                <a:rPr lang="uk-UA" sz="2000" b="0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1/2 </a:t>
              </a:r>
              <a:r>
                <a:rPr lang="uk-UA" sz="2000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протягом наступних </a:t>
              </a:r>
              <a:r>
                <a:rPr lang="uk-UA" sz="2000" b="0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16 </a:t>
              </a:r>
              <a:r>
                <a:rPr lang="uk-UA" sz="2000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год</a:t>
              </a:r>
              <a:endParaRPr lang="uk-UA" sz="1200" dirty="0">
                <a:solidFill>
                  <a:schemeClr val="bg1"/>
                </a:solidFill>
              </a:endParaRPr>
            </a:p>
            <a:p>
              <a:pPr marL="1371600" marR="0" lvl="3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000"/>
                <a:buFont typeface="Arial"/>
                <a:buNone/>
              </a:pPr>
              <a:endParaRPr lang="uk-UA" sz="900" b="0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  <a:p>
              <a:pPr marL="571500" marR="0" lvl="1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Times New Roman"/>
                <a:buNone/>
              </a:pPr>
              <a:r>
                <a:rPr lang="uk-UA" sz="2000" b="1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&lt; 30 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кг</a:t>
              </a:r>
              <a:r>
                <a:rPr lang="uk-UA" sz="2000" b="1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: 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ЛР </a:t>
              </a:r>
              <a:r>
                <a:rPr lang="uk-UA" sz="2000" b="1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+ 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інфузійна терапія </a:t>
              </a:r>
              <a:r>
                <a:rPr lang="uk-UA" sz="2000" b="1" i="0" u="none" strike="noStrike" cap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(D5 LR)</a:t>
              </a:r>
              <a:endParaRPr lang="uk-UA" sz="1200" dirty="0">
                <a:solidFill>
                  <a:schemeClr val="bg1"/>
                </a:solidFill>
              </a:endParaRPr>
            </a:p>
            <a:p>
              <a:pPr marL="457200" marR="0" lvl="0" indent="-3683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lang="uk-UA" sz="1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  <a:p>
              <a:pPr marL="457200" marR="0" lvl="0" indent="-4572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Times New Roman"/>
                <a:buChar char="•"/>
              </a:pPr>
              <a:r>
                <a:rPr lang="uk-UA" sz="24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Кількість сечі </a:t>
              </a:r>
              <a:r>
                <a:rPr lang="uk-UA" sz="28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	</a:t>
              </a: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&lt; 30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 кг</a:t>
              </a: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: 1 см3/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кг</a:t>
              </a: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/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год</a:t>
              </a:r>
              <a:endParaRPr lang="uk-UA" sz="1200" dirty="0">
                <a:solidFill>
                  <a:schemeClr val="bg1"/>
                </a:solidFill>
              </a:endParaRPr>
            </a:p>
            <a:p>
              <a:pPr marL="457200" marR="0" lvl="0" indent="-4572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Times New Roman"/>
                <a:buNone/>
              </a:pP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			                  	≥ 30 кг: 0.5 см3/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кг</a:t>
              </a:r>
              <a:r>
                <a:rPr lang="uk-UA" sz="2000" b="1" i="0" u="none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/</a:t>
              </a:r>
              <a:r>
                <a:rPr lang="uk-UA" sz="20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год</a:t>
              </a:r>
              <a:endParaRPr lang="uk-UA" sz="1200" dirty="0">
                <a:solidFill>
                  <a:schemeClr val="bg1"/>
                </a:solidFill>
              </a:endParaRPr>
            </a:p>
            <a:p>
              <a:pPr marL="457200" marR="0" lvl="0" indent="-4572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lang="uk-UA" sz="12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  <a:p>
              <a:pPr marL="457200" marR="0" lvl="0" indent="-4572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Times New Roman"/>
                <a:buChar char="•"/>
              </a:pPr>
              <a:r>
                <a:rPr lang="uk-UA" sz="2400" b="1" dirty="0">
                  <a:solidFill>
                    <a:schemeClr val="bg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Болюс за необхідності</a:t>
              </a:r>
              <a:endParaRPr lang="uk-UA" sz="20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  <a:p>
              <a:pPr marL="457200" marR="0" lvl="0" indent="-45720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r>
                <a:rPr lang="uk-UA" sz="1800" b="1" i="0" u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 </a:t>
              </a:r>
              <a:endParaRPr lang="uk-UA" dirty="0"/>
            </a:p>
          </p:txBody>
        </p:sp>
        <p:sp>
          <p:nvSpPr>
            <p:cNvPr id="401" name="Google Shape;401;p17"/>
            <p:cNvSpPr txBox="1"/>
            <p:nvPr/>
          </p:nvSpPr>
          <p:spPr>
            <a:xfrm>
              <a:off x="306" y="1727"/>
              <a:ext cx="5100" cy="300"/>
            </a:xfrm>
            <a:prstGeom prst="rect">
              <a:avLst/>
            </a:prstGeom>
            <a:noFill/>
            <a:ln w="38100" cap="flat" cmpd="sng">
              <a:solidFill>
                <a:srgbClr val="FFFF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uk-UA"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378" name="Picture 3" descr="M burn.jpg">
            <a:extLst>
              <a:ext uri="{FF2B5EF4-FFF2-40B4-BE49-F238E27FC236}">
                <a16:creationId xmlns:a16="http://schemas.microsoft.com/office/drawing/2014/main" id="{22703DEA-8FCC-E842-EDE4-8714546108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75" y="161925"/>
            <a:ext cx="8705850" cy="653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379" name="Text Box 3">
            <a:extLst>
              <a:ext uri="{FF2B5EF4-FFF2-40B4-BE49-F238E27FC236}">
                <a16:creationId xmlns:a16="http://schemas.microsoft.com/office/drawing/2014/main" id="{C3D7B06A-0E39-F5E0-DF1B-8DA79E40EE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0" y="3352800"/>
            <a:ext cx="266700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uk-UA" sz="2800" dirty="0">
                <a:solidFill>
                  <a:schemeClr val="bg1"/>
                </a:solidFill>
              </a:rPr>
              <a:t>Після санації та </a:t>
            </a:r>
            <a:r>
              <a:rPr lang="uk-UA" sz="2800" dirty="0" err="1">
                <a:solidFill>
                  <a:schemeClr val="bg1"/>
                </a:solidFill>
              </a:rPr>
              <a:t>есхаротомії</a:t>
            </a:r>
            <a:endParaRPr lang="en-US" altLang="pt-BR" sz="28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6" name="Picture 2" descr="burn VAC - IMAG0015">
            <a:extLst>
              <a:ext uri="{FF2B5EF4-FFF2-40B4-BE49-F238E27FC236}">
                <a16:creationId xmlns:a16="http://schemas.microsoft.com/office/drawing/2014/main" id="{B91F363B-C152-7AAA-52A4-6E93D54D3F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143000"/>
            <a:ext cx="8229600" cy="492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40856B-EB23-4525-9E58-1134ACE02E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18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40856B-EB23-4525-9E58-1134ACE02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6" name="Google Shape;406;p18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ідсумок</a:t>
            </a:r>
            <a:endParaRPr lang="uk-UA">
              <a:solidFill>
                <a:schemeClr val="bg1"/>
              </a:solidFill>
            </a:endParaRPr>
          </a:p>
        </p:txBody>
      </p:sp>
      <p:sp>
        <p:nvSpPr>
          <p:cNvPr id="407" name="Google Shape;407;p18"/>
          <p:cNvSpPr txBox="1"/>
          <p:nvPr/>
        </p:nvSpPr>
        <p:spPr>
          <a:xfrm>
            <a:off x="635000" y="1625600"/>
            <a:ext cx="8229600" cy="47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571500" marR="0" lvl="0" indent="-571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 panose="020B0604020202020204" pitchFamily="34" charset="0"/>
              <a:buChar char="•"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Швидка ресусцитація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uk-UA" sz="14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Times New Roman"/>
              <a:buChar char="•"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ідтримка АТ при малій кількості рідини</a:t>
            </a:r>
            <a:endParaRPr lang="uk-UA" dirty="0">
              <a:solidFill>
                <a:schemeClr val="bg1"/>
              </a:solidFill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uk-UA" sz="1400" b="1" i="0" u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Times New Roman"/>
              <a:buChar char="•"/>
            </a:pPr>
            <a:r>
              <a:rPr lang="uk-UA" sz="36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Оперативне лікування</a:t>
            </a:r>
            <a:r>
              <a:rPr lang="uk-UA" sz="36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</a:t>
            </a:r>
            <a:endParaRPr lang="uk-UA" dirty="0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Обширна хірургічна обробка рани</a:t>
            </a:r>
            <a:endParaRPr lang="uk-UA" dirty="0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ромивання</a:t>
            </a: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усі рани</a:t>
            </a:r>
            <a:endParaRPr lang="uk-UA" dirty="0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Вивчення рани</a:t>
            </a: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либоке</a:t>
            </a:r>
            <a:endParaRPr lang="uk-UA" dirty="0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None/>
            </a:pP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Закриття всіх порожнин тіла</a:t>
            </a:r>
            <a:endParaRPr lang="uk-UA" dirty="0">
              <a:solidFill>
                <a:schemeClr val="bg1"/>
              </a:solidFill>
            </a:endParaRPr>
          </a:p>
        </p:txBody>
      </p:sp>
      <p:cxnSp>
        <p:nvCxnSpPr>
          <p:cNvPr id="408" name="Google Shape;408;p18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">
            <a:extLst>
              <a:ext uri="{FF2B5EF4-FFF2-40B4-BE49-F238E27FC236}">
                <a16:creationId xmlns:a16="http://schemas.microsoft.com/office/drawing/2014/main" id="{A8F2ED2A-67E6-B519-9CD7-5DFC6CBC64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8575"/>
            <a:ext cx="9144000" cy="68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051F81-4476-40C1-9A3E-C7C087508B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241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D051F81-4476-40C1-9A3E-C7C087508B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3" name="Google Shape;413;p19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ідсумок</a:t>
            </a:r>
            <a:endParaRPr lang="uk-UA" dirty="0">
              <a:solidFill>
                <a:schemeClr val="bg1"/>
              </a:solidFill>
            </a:endParaRPr>
          </a:p>
        </p:txBody>
      </p:sp>
      <p:sp>
        <p:nvSpPr>
          <p:cNvPr id="414" name="Google Shape;414;p19"/>
          <p:cNvSpPr txBox="1"/>
          <p:nvPr/>
        </p:nvSpPr>
        <p:spPr>
          <a:xfrm>
            <a:off x="-122439" y="1860365"/>
            <a:ext cx="8920209" cy="41831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457200" marR="0" lvl="0" indent="-457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Times New Roman"/>
              <a:buNone/>
            </a:pPr>
            <a:r>
              <a:rPr lang="uk-UA" sz="3600" b="1" i="0" u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   </a:t>
            </a:r>
            <a:r>
              <a:rPr lang="uk-UA" sz="3600" b="1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ередбачити</a:t>
            </a:r>
            <a:r>
              <a:rPr lang="uk-UA" sz="3600" b="1" i="0" u="none" dirty="0">
                <a:solidFill>
                  <a:srgbClr val="FFFF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:</a:t>
            </a:r>
            <a:endParaRPr lang="uk-UA" dirty="0"/>
          </a:p>
          <a:p>
            <a:pPr marL="457200" marR="0" lvl="0" indent="-3683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uk-UA" sz="1400" b="1" i="0" u="none" dirty="0">
              <a:solidFill>
                <a:schemeClr val="dk2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371600" marR="0" lvl="3" indent="-20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Char char="•"/>
            </a:pPr>
            <a:r>
              <a:rPr lang="uk-UA" sz="3200" b="1" i="0" u="none" strike="noStrike" cap="none" dirty="0">
                <a:solidFill>
                  <a:schemeClr val="dk2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Набряк дихальних шляхів</a:t>
            </a:r>
            <a:endParaRPr lang="uk-UA" dirty="0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uk-UA" sz="1400" b="1" i="0" u="none" strike="noStrike" cap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371600" marR="0" lvl="3" indent="-20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Char char="•"/>
            </a:pP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ГРДС</a:t>
            </a:r>
            <a:endParaRPr lang="uk-UA" dirty="0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uk-UA" sz="1400" b="1" i="0" u="none" strike="noStrike" cap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371600" marR="0" lvl="3" indent="-20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Char char="•"/>
            </a:pP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Абдомінальний компартмент-синдром</a:t>
            </a:r>
            <a:endParaRPr lang="uk-UA" dirty="0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uk-UA" sz="1400" b="1" i="0" u="none" strike="noStrike" cap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371600" marR="0" lvl="3" indent="-20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Char char="•"/>
            </a:pP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Фасціальний компартмент-синдром</a:t>
            </a:r>
            <a:endParaRPr lang="uk-UA" dirty="0">
              <a:solidFill>
                <a:schemeClr val="bg1"/>
              </a:solidFill>
            </a:endParaRPr>
          </a:p>
          <a:p>
            <a:pPr marL="137160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uk-UA" sz="1400" b="1" i="0" u="none" strike="noStrike" cap="none" dirty="0">
              <a:solidFill>
                <a:schemeClr val="bg1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 marL="1371600" marR="0" lvl="3" indent="-2032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Times New Roman"/>
              <a:buChar char="•"/>
            </a:pPr>
            <a:r>
              <a:rPr lang="uk-UA" sz="3200" b="1" i="0" u="none" strike="noStrike" cap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</a:t>
            </a:r>
            <a:r>
              <a:rPr lang="uk-UA" sz="3200" b="1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Прогресуючий некроз</a:t>
            </a:r>
            <a:endParaRPr lang="uk-UA" dirty="0">
              <a:solidFill>
                <a:schemeClr val="bg1"/>
              </a:solidFill>
            </a:endParaRPr>
          </a:p>
        </p:txBody>
      </p:sp>
      <p:cxnSp>
        <p:nvCxnSpPr>
          <p:cNvPr id="415" name="Google Shape;415;p19"/>
          <p:cNvCxnSpPr/>
          <p:nvPr/>
        </p:nvCxnSpPr>
        <p:spPr>
          <a:xfrm>
            <a:off x="0" y="1503362"/>
            <a:ext cx="9144000" cy="0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0" name="Google Shape;420;p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21" name="Google Shape;421;p20"/>
          <p:cNvSpPr/>
          <p:nvPr/>
        </p:nvSpPr>
        <p:spPr>
          <a:xfrm>
            <a:off x="0" y="3287400"/>
            <a:ext cx="9144000" cy="302968"/>
          </a:xfrm>
          <a:prstGeom prst="rect">
            <a:avLst/>
          </a:prstGeom>
          <a:solidFill>
            <a:srgbClr val="000000">
              <a:alpha val="44705"/>
            </a:srgbClr>
          </a:solidFill>
          <a:ln>
            <a:noFill/>
          </a:ln>
        </p:spPr>
        <p:txBody>
          <a:bodyPr spcFirstLastPara="1" wrap="square" lIns="35700" tIns="35700" rIns="35700" bIns="357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endParaRPr sz="15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22" name="Google Shape;422;p20"/>
          <p:cNvSpPr txBox="1"/>
          <p:nvPr/>
        </p:nvSpPr>
        <p:spPr>
          <a:xfrm>
            <a:off x="3088308" y="2050774"/>
            <a:ext cx="2289175" cy="10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700" tIns="35700" rIns="35700" bIns="3570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73"/>
              </a:buClr>
              <a:buSzPts val="2600"/>
              <a:buFont typeface="Helvetica Neue"/>
              <a:buNone/>
            </a:pPr>
            <a:br>
              <a:rPr lang="en-US" sz="2600" b="1" i="1" u="none" dirty="0">
                <a:solidFill>
                  <a:srgbClr val="009973"/>
                </a:solidFill>
                <a:latin typeface="Helvetica Neue"/>
                <a:ea typeface="Helvetica Neue"/>
                <a:cs typeface="Helvetica Neue"/>
                <a:sym typeface="Helvetica Neue"/>
              </a:rPr>
            </a:br>
            <a:r>
              <a:rPr lang="en-US" sz="2400" b="1" i="1" u="none" dirty="0">
                <a:solidFill>
                  <a:srgbClr val="00997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 </a:t>
            </a:r>
            <a:r>
              <a:rPr lang="en-US" sz="2400" b="1" i="1" dirty="0">
                <a:solidFill>
                  <a:srgbClr val="009973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ДЯКУЮ!</a:t>
            </a:r>
            <a:endParaRPr dirty="0"/>
          </a:p>
        </p:txBody>
      </p:sp>
      <p:pic>
        <p:nvPicPr>
          <p:cNvPr id="423" name="Google Shape;423;p20" descr="99C90076-450A-4FEB-9414-94C1EF094CF4@attloca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955235" y="1521707"/>
            <a:ext cx="2873375" cy="8286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"/>
          <p:cNvSpPr txBox="1">
            <a:spLocks noGrp="1"/>
          </p:cNvSpPr>
          <p:nvPr>
            <p:ph type="sldNum" idx="12"/>
          </p:nvPr>
        </p:nvSpPr>
        <p:spPr>
          <a:xfrm>
            <a:off x="7525500" y="5520475"/>
            <a:ext cx="1389600" cy="3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/>
              <a:t>Healthcare </a:t>
            </a:r>
            <a:r>
              <a:rPr lang="en">
                <a:solidFill>
                  <a:schemeClr val="lt1"/>
                </a:solidFill>
              </a:rPr>
              <a:t>Deck | </a:t>
            </a:r>
            <a:fld id="{00000000-1234-1234-1234-123412341234}" type="slidenum">
              <a:rPr lang="en"/>
              <a:pPr/>
              <a:t>52</a:t>
            </a:fld>
            <a:endParaRPr/>
          </a:p>
        </p:txBody>
      </p:sp>
      <p:sp>
        <p:nvSpPr>
          <p:cNvPr id="95" name="Google Shape;95;p1"/>
          <p:cNvSpPr txBox="1"/>
          <p:nvPr/>
        </p:nvSpPr>
        <p:spPr>
          <a:xfrm>
            <a:off x="673649" y="857250"/>
            <a:ext cx="4573500" cy="8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4000" b="1" dirty="0">
                <a:solidFill>
                  <a:srgbClr val="4C76C7"/>
                </a:solidFill>
                <a:latin typeface="Poppins"/>
                <a:ea typeface="Poppins"/>
                <a:cs typeface="Poppins"/>
                <a:sym typeface="Poppins"/>
              </a:rPr>
              <a:t>Наше рішення</a:t>
            </a:r>
            <a:endParaRPr sz="4000" b="1" dirty="0">
              <a:solidFill>
                <a:srgbClr val="4C76C7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96" name="Google Shape;96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09274" y="1445190"/>
            <a:ext cx="2557723" cy="3967622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67450"/>
              </a:srgbClr>
            </a:outerShdw>
          </a:effectLst>
        </p:spPr>
      </p:pic>
      <p:sp>
        <p:nvSpPr>
          <p:cNvPr id="97" name="Google Shape;97;p1"/>
          <p:cNvSpPr txBox="1"/>
          <p:nvPr/>
        </p:nvSpPr>
        <p:spPr>
          <a:xfrm>
            <a:off x="673649" y="1561442"/>
            <a:ext cx="6011100" cy="7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" sz="1600" dirty="0">
                <a:solidFill>
                  <a:srgbClr val="7CD0C7"/>
                </a:solidFill>
                <a:latin typeface="Poppins"/>
                <a:ea typeface="Poppins"/>
                <a:cs typeface="Poppins"/>
                <a:sym typeface="Poppins"/>
              </a:rPr>
              <a:t>Найкраще практичне керівництво для повного циклу лікування</a:t>
            </a:r>
            <a:endParaRPr sz="1600" dirty="0">
              <a:solidFill>
                <a:srgbClr val="7CD0C7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98" name="Google Shape;98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01126" y="2497962"/>
            <a:ext cx="5956149" cy="248496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60A36C3-4107-4DDE-A29B-125728046697}"/>
              </a:ext>
            </a:extLst>
          </p:cNvPr>
          <p:cNvSpPr/>
          <p:nvPr/>
        </p:nvSpPr>
        <p:spPr>
          <a:xfrm>
            <a:off x="672975" y="2476305"/>
            <a:ext cx="989562" cy="238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50" b="1" dirty="0">
                <a:solidFill>
                  <a:schemeClr val="accent1"/>
                </a:solidFill>
              </a:rPr>
              <a:t>Штучне дихання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BFD7D7-5B65-4CB0-8B28-FE3B7B32D459}"/>
              </a:ext>
            </a:extLst>
          </p:cNvPr>
          <p:cNvSpPr/>
          <p:nvPr/>
        </p:nvSpPr>
        <p:spPr>
          <a:xfrm>
            <a:off x="1594475" y="2429860"/>
            <a:ext cx="989562" cy="3023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50" b="1" dirty="0">
                <a:solidFill>
                  <a:schemeClr val="accent1"/>
                </a:solidFill>
              </a:rPr>
              <a:t>Перед операцією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150870-CCF4-464B-93B8-50C8CF683D2A}"/>
              </a:ext>
            </a:extLst>
          </p:cNvPr>
          <p:cNvSpPr/>
          <p:nvPr/>
        </p:nvSpPr>
        <p:spPr>
          <a:xfrm>
            <a:off x="2541725" y="2485177"/>
            <a:ext cx="792194" cy="229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50" b="1" dirty="0">
                <a:solidFill>
                  <a:schemeClr val="accent1"/>
                </a:solidFill>
              </a:rPr>
              <a:t>Операція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9801003-DAFE-4503-AF21-0B674CF39781}"/>
              </a:ext>
            </a:extLst>
          </p:cNvPr>
          <p:cNvSpPr/>
          <p:nvPr/>
        </p:nvSpPr>
        <p:spPr>
          <a:xfrm>
            <a:off x="3383158" y="2476305"/>
            <a:ext cx="717221" cy="238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50" b="1" dirty="0">
                <a:solidFill>
                  <a:schemeClr val="accent1"/>
                </a:solidFill>
              </a:rPr>
              <a:t>Після операції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61430E3-981A-47DC-90EE-C2D10B392C45}"/>
              </a:ext>
            </a:extLst>
          </p:cNvPr>
          <p:cNvSpPr/>
          <p:nvPr/>
        </p:nvSpPr>
        <p:spPr>
          <a:xfrm>
            <a:off x="4119716" y="2478308"/>
            <a:ext cx="904569" cy="236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50" b="1" dirty="0">
                <a:solidFill>
                  <a:schemeClr val="accent1"/>
                </a:solidFill>
              </a:rPr>
              <a:t>Інтенсивна терапія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11A284D-F87B-4DDA-A719-8E29D8B48E75}"/>
              </a:ext>
            </a:extLst>
          </p:cNvPr>
          <p:cNvSpPr/>
          <p:nvPr/>
        </p:nvSpPr>
        <p:spPr>
          <a:xfrm>
            <a:off x="4960738" y="2480445"/>
            <a:ext cx="904569" cy="2341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50" b="1" dirty="0">
                <a:solidFill>
                  <a:schemeClr val="accent1"/>
                </a:solidFill>
              </a:rPr>
              <a:t>Терапія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F46141-85A6-4A66-B73C-3B3B3FFABCC6}"/>
              </a:ext>
            </a:extLst>
          </p:cNvPr>
          <p:cNvSpPr/>
          <p:nvPr/>
        </p:nvSpPr>
        <p:spPr>
          <a:xfrm>
            <a:off x="5780180" y="2526401"/>
            <a:ext cx="904569" cy="1638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50" b="1" dirty="0">
                <a:solidFill>
                  <a:schemeClr val="accent1"/>
                </a:solidFill>
              </a:rPr>
              <a:t>Випис</a:t>
            </a:r>
            <a:endParaRPr lang="en-US" sz="1050" b="1" dirty="0">
              <a:solidFill>
                <a:schemeClr val="accent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DE53B0-CC2C-41B4-B86E-DBE06D0AED58}"/>
              </a:ext>
            </a:extLst>
          </p:cNvPr>
          <p:cNvSpPr/>
          <p:nvPr/>
        </p:nvSpPr>
        <p:spPr>
          <a:xfrm>
            <a:off x="737087" y="3429000"/>
            <a:ext cx="851969" cy="1553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uk-UA" sz="900" b="1" dirty="0">
                <a:solidFill>
                  <a:schemeClr val="accent1"/>
                </a:solidFill>
              </a:rPr>
              <a:t>Первинне опитування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Вторинне опитування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Механізм травми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Діагноз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A793AF0-79C2-4FC9-B00C-910CEE934054}"/>
              </a:ext>
            </a:extLst>
          </p:cNvPr>
          <p:cNvSpPr/>
          <p:nvPr/>
        </p:nvSpPr>
        <p:spPr>
          <a:xfrm>
            <a:off x="1625017" y="3429000"/>
            <a:ext cx="851969" cy="1553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uk-UA" sz="900" b="1" dirty="0">
                <a:solidFill>
                  <a:schemeClr val="accent1"/>
                </a:solidFill>
              </a:rPr>
              <a:t>Передача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Лікування болю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Родина 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Згода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2135AC2-A9B8-4668-80A1-2DE3A11731DA}"/>
              </a:ext>
            </a:extLst>
          </p:cNvPr>
          <p:cNvSpPr/>
          <p:nvPr/>
        </p:nvSpPr>
        <p:spPr>
          <a:xfrm>
            <a:off x="2476986" y="3429000"/>
            <a:ext cx="851969" cy="1553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uk-UA" sz="900" b="1" dirty="0">
                <a:solidFill>
                  <a:srgbClr val="002060"/>
                </a:solidFill>
              </a:rPr>
              <a:t>Анестезія </a:t>
            </a:r>
          </a:p>
          <a:p>
            <a:pPr algn="ctr"/>
            <a:endParaRPr lang="uk-UA" sz="900" b="1" dirty="0">
              <a:solidFill>
                <a:srgbClr val="002060"/>
              </a:solidFill>
            </a:endParaRPr>
          </a:p>
          <a:p>
            <a:pPr algn="ctr"/>
            <a:r>
              <a:rPr lang="en-US" sz="900" b="1" dirty="0">
                <a:solidFill>
                  <a:srgbClr val="002060"/>
                </a:solidFill>
              </a:rPr>
              <a:t>Time-out</a:t>
            </a:r>
          </a:p>
          <a:p>
            <a:pPr algn="ctr"/>
            <a:endParaRPr lang="en-US" sz="900" b="1" dirty="0">
              <a:solidFill>
                <a:srgbClr val="002060"/>
              </a:solidFill>
            </a:endParaRPr>
          </a:p>
          <a:p>
            <a:pPr algn="ctr"/>
            <a:r>
              <a:rPr lang="uk-UA" sz="900" b="1" dirty="0">
                <a:solidFill>
                  <a:srgbClr val="002060"/>
                </a:solidFill>
              </a:rPr>
              <a:t>Операція</a:t>
            </a:r>
          </a:p>
          <a:p>
            <a:pPr algn="ctr"/>
            <a:endParaRPr lang="uk-UA" sz="900" b="1" dirty="0">
              <a:solidFill>
                <a:srgbClr val="002060"/>
              </a:solidFill>
            </a:endParaRPr>
          </a:p>
          <a:p>
            <a:pPr algn="ctr"/>
            <a:r>
              <a:rPr lang="uk-UA" sz="900" b="1" dirty="0">
                <a:solidFill>
                  <a:srgbClr val="002060"/>
                </a:solidFill>
              </a:rPr>
              <a:t>Процедури</a:t>
            </a:r>
            <a:endParaRPr lang="en-US" sz="900" b="1" dirty="0">
              <a:solidFill>
                <a:srgbClr val="00206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D0DAE0-8D5F-475B-87EB-8D4A873A5A20}"/>
              </a:ext>
            </a:extLst>
          </p:cNvPr>
          <p:cNvSpPr/>
          <p:nvPr/>
        </p:nvSpPr>
        <p:spPr>
          <a:xfrm>
            <a:off x="3296510" y="3429000"/>
            <a:ext cx="885925" cy="1553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uk-UA" sz="900" b="1" dirty="0">
                <a:solidFill>
                  <a:schemeClr val="accent1"/>
                </a:solidFill>
              </a:rPr>
              <a:t>Оцінка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Сфокусо-ваний догляд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353B36-6B2A-42B0-920A-844CC4671A10}"/>
              </a:ext>
            </a:extLst>
          </p:cNvPr>
          <p:cNvSpPr/>
          <p:nvPr/>
        </p:nvSpPr>
        <p:spPr>
          <a:xfrm>
            <a:off x="4053231" y="3429000"/>
            <a:ext cx="1047850" cy="1553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uk-UA" sz="900" b="1" dirty="0">
                <a:solidFill>
                  <a:schemeClr val="accent1"/>
                </a:solidFill>
              </a:rPr>
              <a:t>Вентилятор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Гіповолемія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Лихоманка і інфекція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Неврологічна декомпенсація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56918B9-F158-4349-A9D5-49FE4CA6D588}"/>
              </a:ext>
            </a:extLst>
          </p:cNvPr>
          <p:cNvSpPr/>
          <p:nvPr/>
        </p:nvSpPr>
        <p:spPr>
          <a:xfrm>
            <a:off x="4921924" y="3429000"/>
            <a:ext cx="1047850" cy="1553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uk-UA" sz="900" b="1" dirty="0">
                <a:solidFill>
                  <a:schemeClr val="accent1"/>
                </a:solidFill>
              </a:rPr>
              <a:t>Щоденний догляд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Оцінка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Харчування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Відновлення</a:t>
            </a:r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514008B-F53C-4C40-9C98-F289D75FA2E5}"/>
              </a:ext>
            </a:extLst>
          </p:cNvPr>
          <p:cNvSpPr/>
          <p:nvPr/>
        </p:nvSpPr>
        <p:spPr>
          <a:xfrm>
            <a:off x="5840571" y="3429000"/>
            <a:ext cx="844855" cy="1553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uk-UA" sz="900" b="1" dirty="0">
                <a:solidFill>
                  <a:schemeClr val="accent1"/>
                </a:solidFill>
              </a:rPr>
              <a:t>Критерії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Навчання для батьків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Повернення до школи</a:t>
            </a:r>
          </a:p>
          <a:p>
            <a:pPr algn="ctr"/>
            <a:endParaRPr lang="uk-UA" sz="900" b="1" dirty="0">
              <a:solidFill>
                <a:schemeClr val="accent1"/>
              </a:solidFill>
            </a:endParaRPr>
          </a:p>
          <a:p>
            <a:pPr algn="ctr"/>
            <a:r>
              <a:rPr lang="uk-UA" sz="900" b="1" dirty="0">
                <a:solidFill>
                  <a:schemeClr val="accent1"/>
                </a:solidFill>
              </a:rPr>
              <a:t>Подальший зв’язок</a:t>
            </a:r>
            <a:endParaRPr lang="en-US" sz="9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4122008-B34A-8F8D-CCC0-640F86A96069}"/>
              </a:ext>
            </a:extLst>
          </p:cNvPr>
          <p:cNvSpPr/>
          <p:nvPr/>
        </p:nvSpPr>
        <p:spPr>
          <a:xfrm>
            <a:off x="5798" y="7144"/>
            <a:ext cx="9138202" cy="6850856"/>
          </a:xfrm>
          <a:prstGeom prst="rect">
            <a:avLst/>
          </a:prstGeom>
          <a:solidFill>
            <a:srgbClr val="414141">
              <a:alpha val="49804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618" name="Google Shape;319;p45">
            <a:extLst>
              <a:ext uri="{FF2B5EF4-FFF2-40B4-BE49-F238E27FC236}">
                <a16:creationId xmlns:a16="http://schemas.microsoft.com/office/drawing/2014/main" id="{AC5DD732-9C76-E50E-E24C-CF483039D8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6234" y="1506537"/>
            <a:ext cx="7124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uk-UA" sz="5400" dirty="0">
                <a:solidFill>
                  <a:schemeClr val="bg1"/>
                </a:solidFill>
              </a:rPr>
              <a:t>Врятувати життя дітей</a:t>
            </a:r>
            <a:endParaRPr lang="en-US" altLang="en-US" sz="5400" b="1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  <a:sym typeface="Poppins" panose="00000500000000000000" pitchFamily="2" charset="0"/>
            </a:endParaRPr>
          </a:p>
        </p:txBody>
      </p:sp>
      <p:sp>
        <p:nvSpPr>
          <p:cNvPr id="111619" name="Google Shape;320;p45">
            <a:extLst>
              <a:ext uri="{FF2B5EF4-FFF2-40B4-BE49-F238E27FC236}">
                <a16:creationId xmlns:a16="http://schemas.microsoft.com/office/drawing/2014/main" id="{C66575B2-62FE-B18E-971F-97579F113F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4302" y="2536825"/>
            <a:ext cx="3925266" cy="117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uk-UA" sz="2800" dirty="0">
                <a:solidFill>
                  <a:schemeClr val="bg1"/>
                </a:solidFill>
              </a:rPr>
              <a:t>Щоб дізнатися більше Про </a:t>
            </a:r>
            <a:r>
              <a:rPr lang="uk-UA" sz="2800" dirty="0" err="1">
                <a:solidFill>
                  <a:schemeClr val="bg1"/>
                </a:solidFill>
              </a:rPr>
              <a:t>Triaj</a:t>
            </a:r>
            <a:r>
              <a:rPr lang="uk-UA" sz="2800" dirty="0">
                <a:solidFill>
                  <a:schemeClr val="bg1"/>
                </a:solidFill>
              </a:rPr>
              <a:t>:</a:t>
            </a:r>
            <a:endParaRPr lang="en-US" altLang="en-US" sz="28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  <a:sym typeface="Poppins" panose="00000500000000000000" pitchFamily="2" charset="0"/>
            </a:endParaRPr>
          </a:p>
        </p:txBody>
      </p:sp>
      <p:sp>
        <p:nvSpPr>
          <p:cNvPr id="111620" name="Google Shape;321;p45">
            <a:extLst>
              <a:ext uri="{FF2B5EF4-FFF2-40B4-BE49-F238E27FC236}">
                <a16:creationId xmlns:a16="http://schemas.microsoft.com/office/drawing/2014/main" id="{715C773D-6076-0712-DB01-B6A9CEA259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4301" y="3462338"/>
            <a:ext cx="4540250" cy="12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ts val="1000"/>
              </a:spcBef>
              <a:buFontTx/>
              <a:buNone/>
            </a:pPr>
            <a:r>
              <a:rPr lang="uk-UA" sz="2400" dirty="0">
                <a:solidFill>
                  <a:schemeClr val="bg1"/>
                </a:solidFill>
              </a:rPr>
              <a:t>Електронна пошта: </a:t>
            </a:r>
            <a:r>
              <a:rPr lang="uk-UA" sz="2400" dirty="0" err="1">
                <a:solidFill>
                  <a:schemeClr val="bg1"/>
                </a:solidFill>
              </a:rPr>
              <a:t>PR@triaj.com</a:t>
            </a:r>
            <a:r>
              <a:rPr lang="uk-UA" sz="2400" dirty="0">
                <a:solidFill>
                  <a:schemeClr val="bg1"/>
                </a:solidFill>
              </a:rPr>
              <a:t> Веб-сайт: </a:t>
            </a:r>
            <a:r>
              <a:rPr lang="uk-UA" sz="2400" dirty="0" err="1">
                <a:solidFill>
                  <a:schemeClr val="bg1"/>
                </a:solidFill>
              </a:rPr>
              <a:t>www.triaj.com</a:t>
            </a:r>
            <a:endParaRPr lang="en-US" altLang="en-US" sz="2400" dirty="0">
              <a:solidFill>
                <a:schemeClr val="bg1"/>
              </a:solidFill>
              <a:latin typeface="Poppins Light" panose="00000400000000000000" pitchFamily="2" charset="0"/>
              <a:cs typeface="Poppins Light" panose="00000400000000000000" pitchFamily="2" charset="0"/>
              <a:sym typeface="Poppins Light" panose="00000400000000000000" pitchFamily="2" charset="0"/>
            </a:endParaRPr>
          </a:p>
        </p:txBody>
      </p:sp>
      <p:pic>
        <p:nvPicPr>
          <p:cNvPr id="111621" name="Google Shape;322;p45">
            <a:hlinkClick r:id="rId3"/>
            <a:extLst>
              <a:ext uri="{FF2B5EF4-FFF2-40B4-BE49-F238E27FC236}">
                <a16:creationId xmlns:a16="http://schemas.microsoft.com/office/drawing/2014/main" id="{78C6476D-7C4A-5419-55BA-B8B8DC5A188F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00" y="4846638"/>
            <a:ext cx="27463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622" name="Google Shape;323;p45">
            <a:hlinkClick r:id="rId5"/>
            <a:extLst>
              <a:ext uri="{FF2B5EF4-FFF2-40B4-BE49-F238E27FC236}">
                <a16:creationId xmlns:a16="http://schemas.microsoft.com/office/drawing/2014/main" id="{1875FCE0-1AAD-A208-8A9A-11F40FAD8649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175" y="4856163"/>
            <a:ext cx="254000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623" name="Google Shape;324;p45">
            <a:hlinkClick r:id="rId7"/>
            <a:extLst>
              <a:ext uri="{FF2B5EF4-FFF2-40B4-BE49-F238E27FC236}">
                <a16:creationId xmlns:a16="http://schemas.microsoft.com/office/drawing/2014/main" id="{2F9181E0-5404-18B7-057B-02536B6CC60F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363" y="4829175"/>
            <a:ext cx="31115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624" name="Google Shape;325;p45">
            <a:hlinkClick r:id="rId9"/>
            <a:extLst>
              <a:ext uri="{FF2B5EF4-FFF2-40B4-BE49-F238E27FC236}">
                <a16:creationId xmlns:a16="http://schemas.microsoft.com/office/drawing/2014/main" id="{957BED51-B067-6BC6-AC7C-06B333786635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7988" y="4829175"/>
            <a:ext cx="31115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1625" name="Google Shape;388;p49">
            <a:extLst>
              <a:ext uri="{FF2B5EF4-FFF2-40B4-BE49-F238E27FC236}">
                <a16:creationId xmlns:a16="http://schemas.microsoft.com/office/drawing/2014/main" id="{CA5567DA-34BB-5AA6-E2BB-A6B6AA34F94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24750" y="5519738"/>
            <a:ext cx="1390650" cy="3540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900">
                <a:solidFill>
                  <a:srgbClr val="FFFFFF"/>
                </a:solidFill>
                <a:latin typeface="Poppins Light" panose="00000400000000000000" pitchFamily="2" charset="0"/>
                <a:cs typeface="Poppins Light" panose="00000400000000000000" pitchFamily="2" charset="0"/>
                <a:sym typeface="Poppins Light" panose="00000400000000000000" pitchFamily="2" charset="0"/>
              </a:rPr>
              <a:t> Healthcare Deck | </a:t>
            </a:r>
            <a:fld id="{2E43765F-03D1-4FD7-955D-DAB6FB3A4361}" type="slidenum">
              <a:rPr lang="en-US" altLang="en-US" sz="900" smtClean="0">
                <a:solidFill>
                  <a:srgbClr val="FFFFFF"/>
                </a:solidFill>
                <a:latin typeface="Poppins Light" panose="00000400000000000000" pitchFamily="2" charset="0"/>
                <a:cs typeface="Poppins Light" panose="00000400000000000000" pitchFamily="2" charset="0"/>
                <a:sym typeface="Poppins Light" panose="00000400000000000000" pitchFamily="2" charset="0"/>
              </a:rPr>
              <a:pPr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53</a:t>
            </a:fld>
            <a:endParaRPr lang="en-US" altLang="en-US" sz="900">
              <a:solidFill>
                <a:srgbClr val="FFFFFF"/>
              </a:solidFill>
              <a:latin typeface="Poppins Light" panose="00000400000000000000" pitchFamily="2" charset="0"/>
              <a:cs typeface="Poppins Light" panose="00000400000000000000" pitchFamily="2" charset="0"/>
              <a:sym typeface="Poppins Light" panose="00000400000000000000" pitchFamily="2" charset="0"/>
            </a:endParaRPr>
          </a:p>
        </p:txBody>
      </p:sp>
      <p:pic>
        <p:nvPicPr>
          <p:cNvPr id="10" name="Google Shape;220;p36">
            <a:extLst>
              <a:ext uri="{FF2B5EF4-FFF2-40B4-BE49-F238E27FC236}">
                <a16:creationId xmlns:a16="http://schemas.microsoft.com/office/drawing/2014/main" id="{C1B432B4-FAB0-9284-114B-CB4F7C7033F1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6728097" y="2324100"/>
            <a:ext cx="2079625" cy="31337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68000"/>
              </a:srgbClr>
            </a:outerShdw>
          </a:effectLst>
        </p:spPr>
      </p:pic>
      <p:pic>
        <p:nvPicPr>
          <p:cNvPr id="11" name="Google Shape;162;p32">
            <a:extLst>
              <a:ext uri="{FF2B5EF4-FFF2-40B4-BE49-F238E27FC236}">
                <a16:creationId xmlns:a16="http://schemas.microsoft.com/office/drawing/2014/main" id="{E5C928C0-D7D6-82FF-1018-A571BCD16F0A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5272360" y="2324100"/>
            <a:ext cx="2112962" cy="31337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68000"/>
              </a:srgbClr>
            </a:outerShdw>
          </a:effectLst>
        </p:spPr>
      </p:pic>
    </p:spTree>
  </p:cSld>
  <p:clrMapOvr>
    <a:masterClrMapping/>
  </p:clrMapOvr>
  <p:transition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p21"/>
          <p:cNvSpPr txBox="1"/>
          <p:nvPr/>
        </p:nvSpPr>
        <p:spPr>
          <a:xfrm>
            <a:off x="609600" y="762000"/>
            <a:ext cx="8059737" cy="18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0" name="Google Shape;430;p21"/>
          <p:cNvSpPr txBox="1"/>
          <p:nvPr/>
        </p:nvSpPr>
        <p:spPr>
          <a:xfrm>
            <a:off x="-99391" y="240195"/>
            <a:ext cx="9144000" cy="1043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lvl="0" algn="ctr">
              <a:buClr>
                <a:schemeClr val="lt1"/>
              </a:buClr>
              <a:buSzPts val="5400"/>
            </a:pPr>
            <a:br>
              <a:rPr lang="az-Cyrl-AZ" sz="8800" dirty="0">
                <a:solidFill>
                  <a:schemeClr val="bg1"/>
                </a:solidFill>
              </a:rPr>
            </a:br>
            <a:r>
              <a:rPr lang="az-Cyrl-AZ" sz="2800" dirty="0">
                <a:solidFill>
                  <a:schemeClr val="bg1"/>
                </a:solidFill>
              </a:rPr>
              <a:t>Безпечні діти в усьому світі</a:t>
            </a:r>
            <a:br>
              <a:rPr lang="en-US" sz="8000" b="1" i="0" u="none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</a:br>
            <a:r>
              <a:rPr lang="en-US" sz="2000" b="1" i="0" u="none" dirty="0" err="1">
                <a:solidFill>
                  <a:schemeClr val="lt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www.safekids.org</a:t>
            </a:r>
            <a:endParaRPr dirty="0"/>
          </a:p>
        </p:txBody>
      </p:sp>
      <p:pic>
        <p:nvPicPr>
          <p:cNvPr id="431" name="Google Shape;431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895600" y="2133600"/>
            <a:ext cx="2962275" cy="40386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>
            <a:extLst>
              <a:ext uri="{FF2B5EF4-FFF2-40B4-BE49-F238E27FC236}">
                <a16:creationId xmlns:a16="http://schemas.microsoft.com/office/drawing/2014/main" id="{F82CD7EB-69C3-81A1-9D23-627CC55FD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223000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9" name="Picture 4">
            <a:extLst>
              <a:ext uri="{FF2B5EF4-FFF2-40B4-BE49-F238E27FC236}">
                <a16:creationId xmlns:a16="http://schemas.microsoft.com/office/drawing/2014/main" id="{25CE0579-C67F-75E7-1BBD-5C05F38599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0150" y="3752850"/>
            <a:ext cx="4133850" cy="310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0" name="CaixaDeTexto 4">
            <a:extLst>
              <a:ext uri="{FF2B5EF4-FFF2-40B4-BE49-F238E27FC236}">
                <a16:creationId xmlns:a16="http://schemas.microsoft.com/office/drawing/2014/main" id="{8742EC1C-9BB2-EB5D-C98F-946BB7DE1C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92044" y="0"/>
            <a:ext cx="29829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uk-UA" sz="2400" dirty="0">
                <a:solidFill>
                  <a:schemeClr val="bg1"/>
                </a:solidFill>
              </a:rPr>
              <a:t>Типова хвиля вибуху</a:t>
            </a:r>
            <a:endParaRPr lang="pt-BR" altLang="en-US" sz="2400" b="1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4"/>
          <p:cNvSpPr txBox="1"/>
          <p:nvPr/>
        </p:nvSpPr>
        <p:spPr>
          <a:xfrm>
            <a:off x="0" y="-101597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Times New Roman"/>
              <a:buNone/>
            </a:pPr>
            <a:r>
              <a:rPr lang="en-US" sz="5400" b="1" dirty="0">
                <a:solidFill>
                  <a:schemeClr val="lt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СВП</a:t>
            </a:r>
            <a:endParaRPr dirty="0"/>
          </a:p>
        </p:txBody>
      </p:sp>
      <p:pic>
        <p:nvPicPr>
          <p:cNvPr id="2" name="Blast Explosion Video VBIED.mp4" descr="Blast Explosion Video VBIED.mp4">
            <a:hlinkClick r:id="" action="ppaction://media"/>
            <a:extLst>
              <a:ext uri="{FF2B5EF4-FFF2-40B4-BE49-F238E27FC236}">
                <a16:creationId xmlns:a16="http://schemas.microsoft.com/office/drawing/2014/main" id="{09455B5C-2397-4631-D36D-DF94CF91171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069008" y="1043608"/>
            <a:ext cx="7005983" cy="52544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824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E99FE6E-3367-48EC-8036-326F8919B1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4925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E99FE6E-3367-48EC-8036-326F8919B1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Google Shape;297;p5"/>
          <p:cNvSpPr txBox="1"/>
          <p:nvPr/>
        </p:nvSpPr>
        <p:spPr>
          <a:xfrm>
            <a:off x="0" y="127000"/>
            <a:ext cx="90678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400"/>
              <a:buFont typeface="Times New Roman"/>
              <a:buNone/>
            </a:pPr>
            <a:r>
              <a:rPr lang="uk-UA" sz="5400" b="1">
                <a:solidFill>
                  <a:schemeClr val="bg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Механізм травми</a:t>
            </a:r>
            <a:endParaRPr lang="uk-UA">
              <a:solidFill>
                <a:schemeClr val="bg1"/>
              </a:solidFill>
            </a:endParaRPr>
          </a:p>
        </p:txBody>
      </p:sp>
      <p:cxnSp>
        <p:nvCxnSpPr>
          <p:cNvPr id="298" name="Google Shape;298;p5"/>
          <p:cNvCxnSpPr>
            <a:cxnSpLocks/>
          </p:cNvCxnSpPr>
          <p:nvPr/>
        </p:nvCxnSpPr>
        <p:spPr>
          <a:xfrm flipV="1">
            <a:off x="457201" y="1448410"/>
            <a:ext cx="8280400" cy="54952"/>
          </a:xfrm>
          <a:prstGeom prst="straightConnector1">
            <a:avLst/>
          </a:prstGeom>
          <a:noFill/>
          <a:ln w="50800" cap="flat" cmpd="sng">
            <a:solidFill>
              <a:srgbClr val="FF9933"/>
            </a:solidFill>
            <a:prstDash val="solid"/>
            <a:miter lim="800000"/>
            <a:headEnd type="none" w="med" len="med"/>
            <a:tailEnd type="none" w="med" len="med"/>
          </a:ln>
        </p:spPr>
      </p:cxnSp>
      <p:graphicFrame>
        <p:nvGraphicFramePr>
          <p:cNvPr id="299" name="Google Shape;299;p5"/>
          <p:cNvGraphicFramePr/>
          <p:nvPr>
            <p:extLst>
              <p:ext uri="{D42A27DB-BD31-4B8C-83A1-F6EECF244321}">
                <p14:modId xmlns:p14="http://schemas.microsoft.com/office/powerpoint/2010/main" val="940219265"/>
              </p:ext>
            </p:extLst>
          </p:nvPr>
        </p:nvGraphicFramePr>
        <p:xfrm>
          <a:off x="457201" y="1524000"/>
          <a:ext cx="8280400" cy="4949034"/>
        </p:xfrm>
        <a:graphic>
          <a:graphicData uri="http://schemas.openxmlformats.org/drawingml/2006/table">
            <a:tbl>
              <a:tblPr>
                <a:noFill/>
                <a:tableStyleId>{78FB86AA-4BF6-4CE0-A4B7-CB0C12452566}</a:tableStyleId>
              </a:tblPr>
              <a:tblGrid>
                <a:gridCol w="25075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39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389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9057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3200"/>
                        <a:buFont typeface="Times New Roman"/>
                        <a:buNone/>
                      </a:pPr>
                      <a:r>
                        <a:rPr lang="uk-UA" sz="1800" b="1" u="sng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Первинна</a:t>
                      </a:r>
                      <a:r>
                        <a:rPr lang="uk-UA" sz="1800" b="1" i="0" u="none" strike="noStrike" cap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: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Баротравма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i="0" u="none" strike="noStrike" cap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TM, </a:t>
                      </a: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легені</a:t>
                      </a:r>
                      <a:r>
                        <a:rPr lang="uk-UA" sz="1800" b="1" i="0" u="none" strike="noStrike" cap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, </a:t>
                      </a: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очі</a:t>
                      </a:r>
                      <a:r>
                        <a:rPr lang="uk-UA" sz="1800" b="1" i="0" u="none" strike="noStrike" cap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,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струс мозку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uk-UA" sz="1800" b="1" i="0" u="none" dirty="0">
                        <a:solidFill>
                          <a:schemeClr val="bg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949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3200"/>
                        <a:buFont typeface="Times New Roman"/>
                        <a:buNone/>
                      </a:pPr>
                      <a:r>
                        <a:rPr lang="uk-UA" sz="1800" b="1" u="sng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Вторинна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: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Проникаюча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Ампутація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, 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рвані рани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, 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струс мозку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uk-UA" sz="1800" b="1" i="0" u="none" dirty="0">
                        <a:solidFill>
                          <a:schemeClr val="bg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057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3200"/>
                        <a:buFont typeface="Times New Roman"/>
                        <a:buNone/>
                      </a:pPr>
                      <a:r>
                        <a:rPr lang="uk-UA" sz="1800" b="1" u="sng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Третинна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: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Тупа травма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розтрощена рана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, компартмент-синдром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uk-UA" sz="1800" b="1" i="0" u="none" dirty="0">
                        <a:solidFill>
                          <a:schemeClr val="bg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1807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3200"/>
                        <a:buFont typeface="Times New Roman"/>
                        <a:buNone/>
                      </a:pPr>
                      <a:r>
                        <a:rPr lang="uk-UA" sz="1800" b="1" u="sng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Четвертинна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: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опік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, </a:t>
                      </a: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вдихання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опіки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, </a:t>
                      </a: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токсичний газ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, </a:t>
                      </a: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вплив навколишнього середовища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734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3200"/>
                        <a:buFont typeface="Times New Roman"/>
                        <a:buNone/>
                      </a:pPr>
                      <a:r>
                        <a:rPr lang="uk-UA" sz="1800" b="1" u="sng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П’ятірна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: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Times New Roman"/>
                        <a:buNone/>
                      </a:pPr>
                      <a:r>
                        <a:rPr lang="uk-UA" sz="1800" b="1" noProof="0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бактерії</a:t>
                      </a:r>
                      <a:r>
                        <a:rPr lang="uk-UA" sz="1800" b="1" i="0" u="none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, </a:t>
                      </a:r>
                      <a:r>
                        <a:rPr lang="uk-UA" sz="1800" b="1" dirty="0">
                          <a:solidFill>
                            <a:schemeClr val="bg1"/>
                          </a:solidFill>
                          <a:latin typeface="Times New Roman"/>
                          <a:ea typeface="Times New Roman"/>
                          <a:cs typeface="Times New Roman"/>
                          <a:sym typeface="Times New Roman"/>
                        </a:rPr>
                        <a:t>радіація</a:t>
                      </a:r>
                      <a:endParaRPr lang="uk-UA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50" marR="91450" marT="45725" marB="45725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kids and humvee">
            <a:extLst>
              <a:ext uri="{FF2B5EF4-FFF2-40B4-BE49-F238E27FC236}">
                <a16:creationId xmlns:a16="http://schemas.microsoft.com/office/drawing/2014/main" id="{1F104DA2-CD9E-B373-2277-0B017E6436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152400"/>
            <a:ext cx="4914900" cy="655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fault Design">
  <a:themeElements>
    <a:clrScheme name="2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Default Design">
  <a:themeElements>
    <a:clrScheme name="">
      <a:dk1>
        <a:srgbClr val="919191"/>
      </a:dk1>
      <a:lt1>
        <a:srgbClr val="FFFFFF"/>
      </a:lt1>
      <a:dk2>
        <a:srgbClr val="063DE8"/>
      </a:dk2>
      <a:lt2>
        <a:srgbClr val="FFFFFF"/>
      </a:lt2>
      <a:accent1>
        <a:srgbClr val="414141"/>
      </a:accent1>
      <a:accent2>
        <a:srgbClr val="00AE00"/>
      </a:accent2>
      <a:accent3>
        <a:srgbClr val="AAAFF2"/>
      </a:accent3>
      <a:accent4>
        <a:srgbClr val="DADADA"/>
      </a:accent4>
      <a:accent5>
        <a:srgbClr val="B0B0B0"/>
      </a:accent5>
      <a:accent6>
        <a:srgbClr val="009D00"/>
      </a:accent6>
      <a:hlink>
        <a:srgbClr val="A2C1FE"/>
      </a:hlink>
      <a:folHlink>
        <a:srgbClr val="CECEC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Default Design">
  <a:themeElements>
    <a:clrScheme name="">
      <a:dk1>
        <a:srgbClr val="919191"/>
      </a:dk1>
      <a:lt1>
        <a:srgbClr val="FFFFFF"/>
      </a:lt1>
      <a:dk2>
        <a:srgbClr val="063DE8"/>
      </a:dk2>
      <a:lt2>
        <a:srgbClr val="FFFFFF"/>
      </a:lt2>
      <a:accent1>
        <a:srgbClr val="414141"/>
      </a:accent1>
      <a:accent2>
        <a:srgbClr val="00AE00"/>
      </a:accent2>
      <a:accent3>
        <a:srgbClr val="AAAFF2"/>
      </a:accent3>
      <a:accent4>
        <a:srgbClr val="DADADA"/>
      </a:accent4>
      <a:accent5>
        <a:srgbClr val="B0B0B0"/>
      </a:accent5>
      <a:accent6>
        <a:srgbClr val="009D00"/>
      </a:accent6>
      <a:hlink>
        <a:srgbClr val="A2C1FE"/>
      </a:hlink>
      <a:folHlink>
        <a:srgbClr val="CECECE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Default Design">
  <a:themeElements>
    <a:clrScheme name="3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8</TotalTime>
  <Words>1340</Words>
  <Application>Microsoft Macintosh PowerPoint</Application>
  <PresentationFormat>On-screen Show (4:3)</PresentationFormat>
  <Paragraphs>378</Paragraphs>
  <Slides>54</Slides>
  <Notes>54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4</vt:i4>
      </vt:variant>
    </vt:vector>
  </HeadingPairs>
  <TitlesOfParts>
    <vt:vector size="72" baseType="lpstr">
      <vt:lpstr>Times New Roman</vt:lpstr>
      <vt:lpstr>Courier</vt:lpstr>
      <vt:lpstr>Merriweather Sans</vt:lpstr>
      <vt:lpstr>Poppins</vt:lpstr>
      <vt:lpstr>Noto Sans Symbols</vt:lpstr>
      <vt:lpstr>Calibri</vt:lpstr>
      <vt:lpstr>Arial</vt:lpstr>
      <vt:lpstr>Helvetica Neue</vt:lpstr>
      <vt:lpstr>Poppins Light</vt:lpstr>
      <vt:lpstr>Helvetica</vt:lpstr>
      <vt:lpstr>2_Default Design</vt:lpstr>
      <vt:lpstr>1_Default Design</vt:lpstr>
      <vt:lpstr>2_Default Design</vt:lpstr>
      <vt:lpstr>3_Default Design</vt:lpstr>
      <vt:lpstr>4_Default Design</vt:lpstr>
      <vt:lpstr>3_Default Design</vt:lpstr>
      <vt:lpstr>think-cell Slide</vt:lpstr>
      <vt:lpstr>Chart</vt:lpstr>
      <vt:lpstr>Вибухова травма</vt:lpstr>
      <vt:lpstr>Національний дитячий медичний центр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Турнікет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Вибухова травма</vt:lpstr>
      <vt:lpstr>PowerPoint Presentation</vt:lpstr>
      <vt:lpstr>PowerPoint Presentation</vt:lpstr>
      <vt:lpstr>PowerPoint Presentation</vt:lpstr>
      <vt:lpstr>Вибух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Закриття живота</vt:lpstr>
      <vt:lpstr>PowerPoint Presentation</vt:lpstr>
      <vt:lpstr>PowerPoint Presentation</vt:lpstr>
      <vt:lpstr>PowerPoint Presentation</vt:lpstr>
      <vt:lpstr>Травма м'яких тканин і кісток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ибухова травма</dc:title>
  <dc:creator>CNMC Staff</dc:creator>
  <cp:lastModifiedBy>Todd Eichelberger</cp:lastModifiedBy>
  <cp:revision>11</cp:revision>
  <dcterms:created xsi:type="dcterms:W3CDTF">2011-02-07T14:59:47Z</dcterms:created>
  <dcterms:modified xsi:type="dcterms:W3CDTF">2022-05-23T20:56:29Z</dcterms:modified>
</cp:coreProperties>
</file>